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9"/>
  </p:notesMasterIdLst>
  <p:sldIdLst>
    <p:sldId id="312" r:id="rId5"/>
    <p:sldId id="300" r:id="rId6"/>
    <p:sldId id="267" r:id="rId7"/>
    <p:sldId id="259" r:id="rId8"/>
    <p:sldId id="323" r:id="rId9"/>
    <p:sldId id="339" r:id="rId10"/>
    <p:sldId id="324" r:id="rId11"/>
    <p:sldId id="334" r:id="rId12"/>
    <p:sldId id="325" r:id="rId13"/>
    <p:sldId id="271" r:id="rId14"/>
    <p:sldId id="278" r:id="rId15"/>
    <p:sldId id="279" r:id="rId16"/>
    <p:sldId id="280" r:id="rId17"/>
    <p:sldId id="326" r:id="rId18"/>
    <p:sldId id="338" r:id="rId19"/>
    <p:sldId id="275" r:id="rId20"/>
    <p:sldId id="260" r:id="rId21"/>
    <p:sldId id="337" r:id="rId22"/>
    <p:sldId id="327" r:id="rId23"/>
    <p:sldId id="336" r:id="rId24"/>
    <p:sldId id="328" r:id="rId25"/>
    <p:sldId id="320" r:id="rId26"/>
    <p:sldId id="297" r:id="rId27"/>
    <p:sldId id="262" r:id="rId28"/>
  </p:sldIdLst>
  <p:sldSz cx="12192000" cy="6858000"/>
  <p:notesSz cx="6858000" cy="9144000"/>
  <p:custDataLst>
    <p:tags r:id="rId30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8BCBD6-61C8-4961-89B6-5087A7AB72B5}" v="4" dt="2020-03-20T12:48:44.533"/>
    <p1510:client id="{15035E7F-C717-4D22-AAF8-9E61792F0BE9}" v="103" dt="2020-03-19T12:55:36.876"/>
    <p1510:client id="{324E0352-CF5C-4AEB-BA9C-AD7011D14347}" v="62" dt="2020-03-19T14:58:44.657"/>
    <p1510:client id="{5A22EE3B-22BB-481B-A2B4-48E4D9B4D441}" v="97" dt="2020-03-20T12:06:04.944"/>
    <p1510:client id="{924689A1-9774-43C1-87F2-2CB898FE125F}" v="17" dt="2020-03-20T08:29:43.031"/>
    <p1510:client id="{BEC0FE92-95C6-4E05-BD6F-0A1734C04808}" v="20" dt="2020-03-20T12:47:21.720"/>
    <p1510:client id="{C07FDAA3-4C1F-40BD-A7C3-F4742CA998FF}" v="1" dt="2020-03-25T14:30:17.9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ner Kristina" userId="3d0f57db-85b0-4a3a-977d-28bf36d6d72e" providerId="ADAL" clId="{078BCBD6-61C8-4961-89B6-5087A7AB72B5}"/>
    <pc:docChg chg="modSld">
      <pc:chgData name="Stener Kristina" userId="3d0f57db-85b0-4a3a-977d-28bf36d6d72e" providerId="ADAL" clId="{078BCBD6-61C8-4961-89B6-5087A7AB72B5}" dt="2020-03-20T12:48:44.533" v="3" actId="20577"/>
      <pc:docMkLst>
        <pc:docMk/>
      </pc:docMkLst>
      <pc:sldChg chg="modSp">
        <pc:chgData name="Stener Kristina" userId="3d0f57db-85b0-4a3a-977d-28bf36d6d72e" providerId="ADAL" clId="{078BCBD6-61C8-4961-89B6-5087A7AB72B5}" dt="2020-03-20T12:48:44.533" v="3" actId="20577"/>
        <pc:sldMkLst>
          <pc:docMk/>
          <pc:sldMk cId="2974578957" sldId="312"/>
        </pc:sldMkLst>
        <pc:spChg chg="mod">
          <ac:chgData name="Stener Kristina" userId="3d0f57db-85b0-4a3a-977d-28bf36d6d72e" providerId="ADAL" clId="{078BCBD6-61C8-4961-89B6-5087A7AB72B5}" dt="2020-03-20T12:48:44.533" v="3" actId="20577"/>
          <ac:spMkLst>
            <pc:docMk/>
            <pc:sldMk cId="2974578957" sldId="312"/>
            <ac:spMk id="4" creationId="{7C3A8192-81A1-4B54-8CE2-055E1C43C19C}"/>
          </ac:spMkLst>
        </pc:spChg>
      </pc:sldChg>
    </pc:docChg>
  </pc:docChgLst>
  <pc:docChgLst>
    <pc:chgData name="Axelsson Jenny" userId="S::jenny.axelsson@inera.se::35153831-a041-4e19-963c-026d50be729b" providerId="AD" clId="Web-{85BCBEC4-E9F2-47A0-B973-B57B2914DDA6}"/>
    <pc:docChg chg="modSld">
      <pc:chgData name="Axelsson Jenny" userId="S::jenny.axelsson@inera.se::35153831-a041-4e19-963c-026d50be729b" providerId="AD" clId="Web-{85BCBEC4-E9F2-47A0-B973-B57B2914DDA6}" dt="2020-03-18T13:42:25.017" v="0" actId="20577"/>
      <pc:docMkLst>
        <pc:docMk/>
      </pc:docMkLst>
      <pc:sldChg chg="modSp">
        <pc:chgData name="Axelsson Jenny" userId="S::jenny.axelsson@inera.se::35153831-a041-4e19-963c-026d50be729b" providerId="AD" clId="Web-{85BCBEC4-E9F2-47A0-B973-B57B2914DDA6}" dt="2020-03-18T13:42:25.017" v="0" actId="20577"/>
        <pc:sldMkLst>
          <pc:docMk/>
          <pc:sldMk cId="3180739215" sldId="337"/>
        </pc:sldMkLst>
        <pc:spChg chg="mod">
          <ac:chgData name="Axelsson Jenny" userId="S::jenny.axelsson@inera.se::35153831-a041-4e19-963c-026d50be729b" providerId="AD" clId="Web-{85BCBEC4-E9F2-47A0-B973-B57B2914DDA6}" dt="2020-03-18T13:42:25.017" v="0" actId="20577"/>
          <ac:spMkLst>
            <pc:docMk/>
            <pc:sldMk cId="3180739215" sldId="337"/>
            <ac:spMk id="5" creationId="{E66C5368-8331-464F-8C50-5BB97655E8A7}"/>
          </ac:spMkLst>
        </pc:spChg>
      </pc:sldChg>
    </pc:docChg>
  </pc:docChgLst>
  <pc:docChgLst>
    <pc:chgData name="Stener Kristina" userId="S::kristina.stener@inera.se::3d0f57db-85b0-4a3a-977d-28bf36d6d72e" providerId="AD" clId="Web-{B209871E-95D7-47AB-A4FE-7A0347BB0414}"/>
    <pc:docChg chg="modSld">
      <pc:chgData name="Stener Kristina" userId="S::kristina.stener@inera.se::3d0f57db-85b0-4a3a-977d-28bf36d6d72e" providerId="AD" clId="Web-{B209871E-95D7-47AB-A4FE-7A0347BB0414}" dt="2020-03-17T10:19:05.409" v="353" actId="20577"/>
      <pc:docMkLst>
        <pc:docMk/>
      </pc:docMkLst>
      <pc:sldChg chg="modSp">
        <pc:chgData name="Stener Kristina" userId="S::kristina.stener@inera.se::3d0f57db-85b0-4a3a-977d-28bf36d6d72e" providerId="AD" clId="Web-{B209871E-95D7-47AB-A4FE-7A0347BB0414}" dt="2020-03-17T10:19:05.409" v="353" actId="20577"/>
        <pc:sldMkLst>
          <pc:docMk/>
          <pc:sldMk cId="327353060" sldId="334"/>
        </pc:sldMkLst>
        <pc:spChg chg="mod">
          <ac:chgData name="Stener Kristina" userId="S::kristina.stener@inera.se::3d0f57db-85b0-4a3a-977d-28bf36d6d72e" providerId="AD" clId="Web-{B209871E-95D7-47AB-A4FE-7A0347BB0414}" dt="2020-03-17T10:19:05.409" v="353" actId="20577"/>
          <ac:spMkLst>
            <pc:docMk/>
            <pc:sldMk cId="327353060" sldId="334"/>
            <ac:spMk id="5" creationId="{E66C5368-8331-464F-8C50-5BB97655E8A7}"/>
          </ac:spMkLst>
        </pc:spChg>
      </pc:sldChg>
    </pc:docChg>
  </pc:docChgLst>
  <pc:docChgLst>
    <pc:chgData name="Axelsson Jenny" userId="35153831-a041-4e19-963c-026d50be729b" providerId="ADAL" clId="{01AB967F-AB43-4754-88E8-9BB312CFD42C}"/>
    <pc:docChg chg="addSld delSld modSld">
      <pc:chgData name="Axelsson Jenny" userId="35153831-a041-4e19-963c-026d50be729b" providerId="ADAL" clId="{01AB967F-AB43-4754-88E8-9BB312CFD42C}" dt="2020-01-20T13:12:58.404" v="141" actId="2696"/>
      <pc:docMkLst>
        <pc:docMk/>
      </pc:docMkLst>
    </pc:docChg>
  </pc:docChgLst>
  <pc:docChgLst>
    <pc:chgData name="Jonsson Åsa" userId="S::asa.jonsson@inera.se::e7c157ac-c4f4-446a-aea7-2d9507f60b0e" providerId="AD" clId="Web-{C07FDAA3-4C1F-40BD-A7C3-F4742CA998FF}"/>
    <pc:docChg chg="sldOrd">
      <pc:chgData name="Jonsson Åsa" userId="S::asa.jonsson@inera.se::e7c157ac-c4f4-446a-aea7-2d9507f60b0e" providerId="AD" clId="Web-{C07FDAA3-4C1F-40BD-A7C3-F4742CA998FF}" dt="2020-03-25T14:30:17.925" v="0"/>
      <pc:docMkLst>
        <pc:docMk/>
      </pc:docMkLst>
      <pc:sldChg chg="ord">
        <pc:chgData name="Jonsson Åsa" userId="S::asa.jonsson@inera.se::e7c157ac-c4f4-446a-aea7-2d9507f60b0e" providerId="AD" clId="Web-{C07FDAA3-4C1F-40BD-A7C3-F4742CA998FF}" dt="2020-03-25T14:30:17.925" v="0"/>
        <pc:sldMkLst>
          <pc:docMk/>
          <pc:sldMk cId="1351546238" sldId="267"/>
        </pc:sldMkLst>
      </pc:sldChg>
    </pc:docChg>
  </pc:docChgLst>
  <pc:docChgLst>
    <pc:chgData name="Axelsson Jenny" userId="35153831-a041-4e19-963c-026d50be729b" providerId="ADAL" clId="{B2E5886A-ABDB-4127-85CD-9314B6D84B8D}"/>
    <pc:docChg chg="undo custSel addSld delSld modSld">
      <pc:chgData name="Axelsson Jenny" userId="35153831-a041-4e19-963c-026d50be729b" providerId="ADAL" clId="{B2E5886A-ABDB-4127-85CD-9314B6D84B8D}" dt="2020-01-24T12:01:16.339" v="448"/>
      <pc:docMkLst>
        <pc:docMk/>
      </pc:docMkLst>
      <pc:sldChg chg="modSp">
        <pc:chgData name="Axelsson Jenny" userId="35153831-a041-4e19-963c-026d50be729b" providerId="ADAL" clId="{B2E5886A-ABDB-4127-85CD-9314B6D84B8D}" dt="2020-01-20T13:45:36.978" v="53" actId="20577"/>
        <pc:sldMkLst>
          <pc:docMk/>
          <pc:sldMk cId="1351546238" sldId="267"/>
        </pc:sldMkLst>
        <pc:spChg chg="mod">
          <ac:chgData name="Axelsson Jenny" userId="35153831-a041-4e19-963c-026d50be729b" providerId="ADAL" clId="{B2E5886A-ABDB-4127-85CD-9314B6D84B8D}" dt="2020-01-20T13:45:36.978" v="53" actId="20577"/>
          <ac:spMkLst>
            <pc:docMk/>
            <pc:sldMk cId="1351546238" sldId="267"/>
            <ac:spMk id="5" creationId="{E66C5368-8331-464F-8C50-5BB97655E8A7}"/>
          </ac:spMkLst>
        </pc:spChg>
      </pc:sldChg>
      <pc:sldChg chg="modSp add">
        <pc:chgData name="Axelsson Jenny" userId="35153831-a041-4e19-963c-026d50be729b" providerId="ADAL" clId="{B2E5886A-ABDB-4127-85CD-9314B6D84B8D}" dt="2020-01-20T14:27:18.849" v="443" actId="6549"/>
        <pc:sldMkLst>
          <pc:docMk/>
          <pc:sldMk cId="4158479537" sldId="320"/>
        </pc:sldMkLst>
        <pc:spChg chg="mod">
          <ac:chgData name="Axelsson Jenny" userId="35153831-a041-4e19-963c-026d50be729b" providerId="ADAL" clId="{B2E5886A-ABDB-4127-85CD-9314B6D84B8D}" dt="2020-01-20T13:54:21.347" v="414" actId="20577"/>
          <ac:spMkLst>
            <pc:docMk/>
            <pc:sldMk cId="4158479537" sldId="320"/>
            <ac:spMk id="2" creationId="{28142FAB-2177-42C2-83A7-B8FCD6F5DAB5}"/>
          </ac:spMkLst>
        </pc:spChg>
        <pc:spChg chg="mod">
          <ac:chgData name="Axelsson Jenny" userId="35153831-a041-4e19-963c-026d50be729b" providerId="ADAL" clId="{B2E5886A-ABDB-4127-85CD-9314B6D84B8D}" dt="2020-01-20T14:27:18.849" v="443" actId="6549"/>
          <ac:spMkLst>
            <pc:docMk/>
            <pc:sldMk cId="4158479537" sldId="320"/>
            <ac:spMk id="5" creationId="{E66C5368-8331-464F-8C50-5BB97655E8A7}"/>
          </ac:spMkLst>
        </pc:spChg>
      </pc:sldChg>
    </pc:docChg>
  </pc:docChgLst>
  <pc:docChgLst>
    <pc:chgData name="Jonsson Åsa" userId="S::asa.jonsson@inera.se::e7c157ac-c4f4-446a-aea7-2d9507f60b0e" providerId="AD" clId="Web-{6FE0A7B1-5CBB-47F6-B159-0237A6875541}"/>
    <pc:docChg chg="delSld modSld">
      <pc:chgData name="Jonsson Åsa" userId="S::asa.jonsson@inera.se::e7c157ac-c4f4-446a-aea7-2d9507f60b0e" providerId="AD" clId="Web-{6FE0A7B1-5CBB-47F6-B159-0237A6875541}" dt="2020-03-19T09:45:43.656" v="7"/>
      <pc:docMkLst>
        <pc:docMk/>
      </pc:docMkLst>
      <pc:sldChg chg="addSp delSp modSp del">
        <pc:chgData name="Jonsson Åsa" userId="S::asa.jonsson@inera.se::e7c157ac-c4f4-446a-aea7-2d9507f60b0e" providerId="AD" clId="Web-{6FE0A7B1-5CBB-47F6-B159-0237A6875541}" dt="2020-03-19T09:45:43.656" v="7"/>
        <pc:sldMkLst>
          <pc:docMk/>
          <pc:sldMk cId="2761004538" sldId="333"/>
        </pc:sldMkLst>
        <pc:spChg chg="mod">
          <ac:chgData name="Jonsson Åsa" userId="S::asa.jonsson@inera.se::e7c157ac-c4f4-446a-aea7-2d9507f60b0e" providerId="AD" clId="Web-{6FE0A7B1-5CBB-47F6-B159-0237A6875541}" dt="2020-03-19T09:45:01.015" v="2" actId="20577"/>
          <ac:spMkLst>
            <pc:docMk/>
            <pc:sldMk cId="2761004538" sldId="333"/>
            <ac:spMk id="2" creationId="{28142FAB-2177-42C2-83A7-B8FCD6F5DAB5}"/>
          </ac:spMkLst>
        </pc:spChg>
        <pc:spChg chg="mod">
          <ac:chgData name="Jonsson Åsa" userId="S::asa.jonsson@inera.se::e7c157ac-c4f4-446a-aea7-2d9507f60b0e" providerId="AD" clId="Web-{6FE0A7B1-5CBB-47F6-B159-0237A6875541}" dt="2020-03-19T09:45:04.296" v="4" actId="20577"/>
          <ac:spMkLst>
            <pc:docMk/>
            <pc:sldMk cId="2761004538" sldId="333"/>
            <ac:spMk id="5" creationId="{E66C5368-8331-464F-8C50-5BB97655E8A7}"/>
          </ac:spMkLst>
        </pc:spChg>
        <pc:picChg chg="add del mod">
          <ac:chgData name="Jonsson Åsa" userId="S::asa.jonsson@inera.se::e7c157ac-c4f4-446a-aea7-2d9507f60b0e" providerId="AD" clId="Web-{6FE0A7B1-5CBB-47F6-B159-0237A6875541}" dt="2020-03-19T09:44:36" v="1"/>
          <ac:picMkLst>
            <pc:docMk/>
            <pc:sldMk cId="2761004538" sldId="333"/>
            <ac:picMk id="3" creationId="{13AC7351-B7B7-41C0-A441-C76F1D4C008E}"/>
          </ac:picMkLst>
        </pc:picChg>
        <pc:picChg chg="add del mod">
          <ac:chgData name="Jonsson Åsa" userId="S::asa.jonsson@inera.se::e7c157ac-c4f4-446a-aea7-2d9507f60b0e" providerId="AD" clId="Web-{6FE0A7B1-5CBB-47F6-B159-0237A6875541}" dt="2020-03-19T09:45:12.765" v="6"/>
          <ac:picMkLst>
            <pc:docMk/>
            <pc:sldMk cId="2761004538" sldId="333"/>
            <ac:picMk id="7" creationId="{EE5AC732-B1A1-471C-89CB-D9C17E181A88}"/>
          </ac:picMkLst>
        </pc:picChg>
      </pc:sldChg>
    </pc:docChg>
  </pc:docChgLst>
  <pc:docChgLst>
    <pc:chgData name="Nordqvist Anne-Louise" userId="298fd2ba-5879-4078-9dd0-cb16eef6a860" providerId="ADAL" clId="{5A22EE3B-22BB-481B-A2B4-48E4D9B4D441}"/>
    <pc:docChg chg="addSld delSld modSld">
      <pc:chgData name="Nordqvist Anne-Louise" userId="298fd2ba-5879-4078-9dd0-cb16eef6a860" providerId="ADAL" clId="{5A22EE3B-22BB-481B-A2B4-48E4D9B4D441}" dt="2020-03-20T12:36:26.197" v="97" actId="2696"/>
      <pc:docMkLst>
        <pc:docMk/>
      </pc:docMkLst>
      <pc:sldChg chg="add">
        <pc:chgData name="Nordqvist Anne-Louise" userId="298fd2ba-5879-4078-9dd0-cb16eef6a860" providerId="ADAL" clId="{5A22EE3B-22BB-481B-A2B4-48E4D9B4D441}" dt="2020-03-19T15:21:26.390" v="95"/>
        <pc:sldMkLst>
          <pc:docMk/>
          <pc:sldMk cId="4121088719" sldId="271"/>
        </pc:sldMkLst>
      </pc:sldChg>
      <pc:sldChg chg="add">
        <pc:chgData name="Nordqvist Anne-Louise" userId="298fd2ba-5879-4078-9dd0-cb16eef6a860" providerId="ADAL" clId="{5A22EE3B-22BB-481B-A2B4-48E4D9B4D441}" dt="2020-03-19T15:18:02.655" v="1"/>
        <pc:sldMkLst>
          <pc:docMk/>
          <pc:sldMk cId="55233457" sldId="278"/>
        </pc:sldMkLst>
      </pc:sldChg>
      <pc:sldChg chg="modSp add modTransition">
        <pc:chgData name="Nordqvist Anne-Louise" userId="298fd2ba-5879-4078-9dd0-cb16eef6a860" providerId="ADAL" clId="{5A22EE3B-22BB-481B-A2B4-48E4D9B4D441}" dt="2020-03-19T15:18:43.665" v="78" actId="20577"/>
        <pc:sldMkLst>
          <pc:docMk/>
          <pc:sldMk cId="3814796638" sldId="279"/>
        </pc:sldMkLst>
        <pc:spChg chg="mod">
          <ac:chgData name="Nordqvist Anne-Louise" userId="298fd2ba-5879-4078-9dd0-cb16eef6a860" providerId="ADAL" clId="{5A22EE3B-22BB-481B-A2B4-48E4D9B4D441}" dt="2020-03-19T15:18:43.665" v="78" actId="20577"/>
          <ac:spMkLst>
            <pc:docMk/>
            <pc:sldMk cId="3814796638" sldId="279"/>
            <ac:spMk id="2" creationId="{903A8CD1-9AE9-4F99-9A45-050A560D97AC}"/>
          </ac:spMkLst>
        </pc:spChg>
      </pc:sldChg>
      <pc:sldChg chg="modSp add modTransition">
        <pc:chgData name="Nordqvist Anne-Louise" userId="298fd2ba-5879-4078-9dd0-cb16eef6a860" providerId="ADAL" clId="{5A22EE3B-22BB-481B-A2B4-48E4D9B4D441}" dt="2020-03-19T15:20:32.480" v="93" actId="6549"/>
        <pc:sldMkLst>
          <pc:docMk/>
          <pc:sldMk cId="2403484503" sldId="280"/>
        </pc:sldMkLst>
        <pc:spChg chg="mod">
          <ac:chgData name="Nordqvist Anne-Louise" userId="298fd2ba-5879-4078-9dd0-cb16eef6a860" providerId="ADAL" clId="{5A22EE3B-22BB-481B-A2B4-48E4D9B4D441}" dt="2020-03-19T15:20:32.480" v="93" actId="6549"/>
          <ac:spMkLst>
            <pc:docMk/>
            <pc:sldMk cId="2403484503" sldId="280"/>
            <ac:spMk id="2" creationId="{094A7C85-7A08-4FC8-BC48-233C8F28D3FD}"/>
          </ac:spMkLst>
        </pc:spChg>
        <pc:picChg chg="mod">
          <ac:chgData name="Nordqvist Anne-Louise" userId="298fd2ba-5879-4078-9dd0-cb16eef6a860" providerId="ADAL" clId="{5A22EE3B-22BB-481B-A2B4-48E4D9B4D441}" dt="2020-03-19T15:18:54.232" v="79" actId="1076"/>
          <ac:picMkLst>
            <pc:docMk/>
            <pc:sldMk cId="2403484503" sldId="280"/>
            <ac:picMk id="11" creationId="{B155D49D-FAF2-4B1D-AA2E-F9547972B345}"/>
          </ac:picMkLst>
        </pc:picChg>
      </pc:sldChg>
      <pc:sldChg chg="del">
        <pc:chgData name="Nordqvist Anne-Louise" userId="298fd2ba-5879-4078-9dd0-cb16eef6a860" providerId="ADAL" clId="{5A22EE3B-22BB-481B-A2B4-48E4D9B4D441}" dt="2020-03-19T15:21:22.117" v="94" actId="2696"/>
        <pc:sldMkLst>
          <pc:docMk/>
          <pc:sldMk cId="4263201519" sldId="335"/>
        </pc:sldMkLst>
      </pc:sldChg>
      <pc:sldChg chg="add del">
        <pc:chgData name="Nordqvist Anne-Louise" userId="298fd2ba-5879-4078-9dd0-cb16eef6a860" providerId="ADAL" clId="{5A22EE3B-22BB-481B-A2B4-48E4D9B4D441}" dt="2020-03-20T12:36:26.197" v="97" actId="2696"/>
        <pc:sldMkLst>
          <pc:docMk/>
          <pc:sldMk cId="2859763309" sldId="340"/>
        </pc:sldMkLst>
      </pc:sldChg>
      <pc:sldChg chg="del">
        <pc:chgData name="Nordqvist Anne-Louise" userId="298fd2ba-5879-4078-9dd0-cb16eef6a860" providerId="ADAL" clId="{5A22EE3B-22BB-481B-A2B4-48E4D9B4D441}" dt="2020-03-19T15:13:59.527" v="0" actId="2696"/>
        <pc:sldMkLst>
          <pc:docMk/>
          <pc:sldMk cId="3084293729" sldId="340"/>
        </pc:sldMkLst>
      </pc:sldChg>
    </pc:docChg>
  </pc:docChgLst>
  <pc:docChgLst>
    <pc:chgData name="Nordqvist Anne-Louise" userId="S::anne-louise.nordqvist@inera.se::298fd2ba-5879-4078-9dd0-cb16eef6a860" providerId="AD" clId="Web-{324E0352-CF5C-4AEB-BA9C-AD7011D14347}"/>
    <pc:docChg chg="addSld modSld">
      <pc:chgData name="Nordqvist Anne-Louise" userId="S::anne-louise.nordqvist@inera.se::298fd2ba-5879-4078-9dd0-cb16eef6a860" providerId="AD" clId="Web-{324E0352-CF5C-4AEB-BA9C-AD7011D14347}" dt="2020-03-19T14:58:44.657" v="57"/>
      <pc:docMkLst>
        <pc:docMk/>
      </pc:docMkLst>
      <pc:sldChg chg="addSp delSp modSp">
        <pc:chgData name="Nordqvist Anne-Louise" userId="S::anne-louise.nordqvist@inera.se::298fd2ba-5879-4078-9dd0-cb16eef6a860" providerId="AD" clId="Web-{324E0352-CF5C-4AEB-BA9C-AD7011D14347}" dt="2020-03-19T14:34:16.085" v="7"/>
        <pc:sldMkLst>
          <pc:docMk/>
          <pc:sldMk cId="343536857" sldId="325"/>
        </pc:sldMkLst>
        <pc:picChg chg="add del mod">
          <ac:chgData name="Nordqvist Anne-Louise" userId="S::anne-louise.nordqvist@inera.se::298fd2ba-5879-4078-9dd0-cb16eef6a860" providerId="AD" clId="Web-{324E0352-CF5C-4AEB-BA9C-AD7011D14347}" dt="2020-03-19T14:34:16.085" v="7"/>
          <ac:picMkLst>
            <pc:docMk/>
            <pc:sldMk cId="343536857" sldId="325"/>
            <ac:picMk id="3" creationId="{AF967A79-BA59-4FAE-B547-DA1E22A5A8AD}"/>
          </ac:picMkLst>
        </pc:picChg>
      </pc:sldChg>
      <pc:sldChg chg="addSp modSp">
        <pc:chgData name="Nordqvist Anne-Louise" userId="S::anne-louise.nordqvist@inera.se::298fd2ba-5879-4078-9dd0-cb16eef6a860" providerId="AD" clId="Web-{324E0352-CF5C-4AEB-BA9C-AD7011D14347}" dt="2020-03-19T14:36:16.227" v="36" actId="20577"/>
        <pc:sldMkLst>
          <pc:docMk/>
          <pc:sldMk cId="4263201519" sldId="335"/>
        </pc:sldMkLst>
        <pc:spChg chg="mod">
          <ac:chgData name="Nordqvist Anne-Louise" userId="S::anne-louise.nordqvist@inera.se::298fd2ba-5879-4078-9dd0-cb16eef6a860" providerId="AD" clId="Web-{324E0352-CF5C-4AEB-BA9C-AD7011D14347}" dt="2020-03-19T14:36:16.227" v="36" actId="20577"/>
          <ac:spMkLst>
            <pc:docMk/>
            <pc:sldMk cId="4263201519" sldId="335"/>
            <ac:spMk id="2" creationId="{28142FAB-2177-42C2-83A7-B8FCD6F5DAB5}"/>
          </ac:spMkLst>
        </pc:spChg>
        <pc:spChg chg="mod">
          <ac:chgData name="Nordqvist Anne-Louise" userId="S::anne-louise.nordqvist@inera.se::298fd2ba-5879-4078-9dd0-cb16eef6a860" providerId="AD" clId="Web-{324E0352-CF5C-4AEB-BA9C-AD7011D14347}" dt="2020-03-19T14:34:58.991" v="13" actId="14100"/>
          <ac:spMkLst>
            <pc:docMk/>
            <pc:sldMk cId="4263201519" sldId="335"/>
            <ac:spMk id="5" creationId="{E66C5368-8331-464F-8C50-5BB97655E8A7}"/>
          </ac:spMkLst>
        </pc:spChg>
        <pc:picChg chg="add mod">
          <ac:chgData name="Nordqvist Anne-Louise" userId="S::anne-louise.nordqvist@inera.se::298fd2ba-5879-4078-9dd0-cb16eef6a860" providerId="AD" clId="Web-{324E0352-CF5C-4AEB-BA9C-AD7011D14347}" dt="2020-03-19T14:35:56.649" v="20" actId="14100"/>
          <ac:picMkLst>
            <pc:docMk/>
            <pc:sldMk cId="4263201519" sldId="335"/>
            <ac:picMk id="3" creationId="{BBF8EF91-54DA-4D3B-B5F3-DA934EE7CD1D}"/>
          </ac:picMkLst>
        </pc:picChg>
      </pc:sldChg>
      <pc:sldChg chg="addSp delSp modSp new">
        <pc:chgData name="Nordqvist Anne-Louise" userId="S::anne-louise.nordqvist@inera.se::298fd2ba-5879-4078-9dd0-cb16eef6a860" providerId="AD" clId="Web-{324E0352-CF5C-4AEB-BA9C-AD7011D14347}" dt="2020-03-19T14:58:44.657" v="57"/>
        <pc:sldMkLst>
          <pc:docMk/>
          <pc:sldMk cId="3084293729" sldId="340"/>
        </pc:sldMkLst>
        <pc:spChg chg="mod">
          <ac:chgData name="Nordqvist Anne-Louise" userId="S::anne-louise.nordqvist@inera.se::298fd2ba-5879-4078-9dd0-cb16eef6a860" providerId="AD" clId="Web-{324E0352-CF5C-4AEB-BA9C-AD7011D14347}" dt="2020-03-19T14:37:38.869" v="55" actId="20577"/>
          <ac:spMkLst>
            <pc:docMk/>
            <pc:sldMk cId="3084293729" sldId="340"/>
            <ac:spMk id="2" creationId="{445BC26B-1646-44A4-B5CF-8F219B9B9DBE}"/>
          </ac:spMkLst>
        </pc:spChg>
        <pc:picChg chg="add del mod">
          <ac:chgData name="Nordqvist Anne-Louise" userId="S::anne-louise.nordqvist@inera.se::298fd2ba-5879-4078-9dd0-cb16eef6a860" providerId="AD" clId="Web-{324E0352-CF5C-4AEB-BA9C-AD7011D14347}" dt="2020-03-19T14:58:44.657" v="57"/>
          <ac:picMkLst>
            <pc:docMk/>
            <pc:sldMk cId="3084293729" sldId="340"/>
            <ac:picMk id="5" creationId="{55CFFF94-EAF1-475B-9B42-FC52007FE79F}"/>
          </ac:picMkLst>
        </pc:picChg>
      </pc:sldChg>
    </pc:docChg>
  </pc:docChgLst>
  <pc:docChgLst>
    <pc:chgData name="Stener Kristina" userId="S::kristina.stener@inera.se::3d0f57db-85b0-4a3a-977d-28bf36d6d72e" providerId="AD" clId="Web-{BEC0FE92-95C6-4E05-BD6F-0A1734C04808}"/>
    <pc:docChg chg="modSld">
      <pc:chgData name="Stener Kristina" userId="S::kristina.stener@inera.se::3d0f57db-85b0-4a3a-977d-28bf36d6d72e" providerId="AD" clId="Web-{BEC0FE92-95C6-4E05-BD6F-0A1734C04808}" dt="2020-03-20T12:47:21.720" v="18" actId="20577"/>
      <pc:docMkLst>
        <pc:docMk/>
      </pc:docMkLst>
      <pc:sldChg chg="modSp">
        <pc:chgData name="Stener Kristina" userId="S::kristina.stener@inera.se::3d0f57db-85b0-4a3a-977d-28bf36d6d72e" providerId="AD" clId="Web-{BEC0FE92-95C6-4E05-BD6F-0A1734C04808}" dt="2020-03-20T12:47:21.720" v="18" actId="20577"/>
        <pc:sldMkLst>
          <pc:docMk/>
          <pc:sldMk cId="2974578957" sldId="312"/>
        </pc:sldMkLst>
        <pc:spChg chg="mod">
          <ac:chgData name="Stener Kristina" userId="S::kristina.stener@inera.se::3d0f57db-85b0-4a3a-977d-28bf36d6d72e" providerId="AD" clId="Web-{BEC0FE92-95C6-4E05-BD6F-0A1734C04808}" dt="2020-03-20T12:47:21.720" v="18" actId="20577"/>
          <ac:spMkLst>
            <pc:docMk/>
            <pc:sldMk cId="2974578957" sldId="312"/>
            <ac:spMk id="4" creationId="{7C3A8192-81A1-4B54-8CE2-055E1C43C19C}"/>
          </ac:spMkLst>
        </pc:spChg>
      </pc:sldChg>
    </pc:docChg>
  </pc:docChgLst>
  <pc:docChgLst>
    <pc:chgData name="Axelsson Jenny" userId="35153831-a041-4e19-963c-026d50be729b" providerId="ADAL" clId="{2DF8AF74-FD25-42EF-95E0-ED3AA4319D6E}"/>
    <pc:docChg chg="undo custSel addSld delSld modSld sldOrd">
      <pc:chgData name="Axelsson Jenny" userId="35153831-a041-4e19-963c-026d50be729b" providerId="ADAL" clId="{2DF8AF74-FD25-42EF-95E0-ED3AA4319D6E}" dt="2020-03-13T07:53:56.247" v="2362" actId="20577"/>
      <pc:docMkLst>
        <pc:docMk/>
      </pc:docMkLst>
      <pc:sldChg chg="add">
        <pc:chgData name="Axelsson Jenny" userId="35153831-a041-4e19-963c-026d50be729b" providerId="ADAL" clId="{2DF8AF74-FD25-42EF-95E0-ED3AA4319D6E}" dt="2020-03-10T12:05:03.565" v="791"/>
        <pc:sldMkLst>
          <pc:docMk/>
          <pc:sldMk cId="3083079747" sldId="260"/>
        </pc:sldMkLst>
      </pc:sldChg>
      <pc:sldChg chg="modSp">
        <pc:chgData name="Axelsson Jenny" userId="35153831-a041-4e19-963c-026d50be729b" providerId="ADAL" clId="{2DF8AF74-FD25-42EF-95E0-ED3AA4319D6E}" dt="2020-03-10T11:51:58.801" v="525" actId="14100"/>
        <pc:sldMkLst>
          <pc:docMk/>
          <pc:sldMk cId="1351546238" sldId="267"/>
        </pc:sldMkLst>
        <pc:spChg chg="mod">
          <ac:chgData name="Axelsson Jenny" userId="35153831-a041-4e19-963c-026d50be729b" providerId="ADAL" clId="{2DF8AF74-FD25-42EF-95E0-ED3AA4319D6E}" dt="2020-03-10T11:51:58.801" v="525" actId="14100"/>
          <ac:spMkLst>
            <pc:docMk/>
            <pc:sldMk cId="1351546238" sldId="267"/>
            <ac:spMk id="5" creationId="{E66C5368-8331-464F-8C50-5BB97655E8A7}"/>
          </ac:spMkLst>
        </pc:spChg>
      </pc:sldChg>
      <pc:sldChg chg="modSp add ord">
        <pc:chgData name="Axelsson Jenny" userId="35153831-a041-4e19-963c-026d50be729b" providerId="ADAL" clId="{2DF8AF74-FD25-42EF-95E0-ED3AA4319D6E}" dt="2020-03-10T12:11:11.427" v="902" actId="6549"/>
        <pc:sldMkLst>
          <pc:docMk/>
          <pc:sldMk cId="462872649" sldId="275"/>
        </pc:sldMkLst>
        <pc:spChg chg="mod">
          <ac:chgData name="Axelsson Jenny" userId="35153831-a041-4e19-963c-026d50be729b" providerId="ADAL" clId="{2DF8AF74-FD25-42EF-95E0-ED3AA4319D6E}" dt="2020-03-10T12:11:11.427" v="902" actId="6549"/>
          <ac:spMkLst>
            <pc:docMk/>
            <pc:sldMk cId="462872649" sldId="275"/>
            <ac:spMk id="6" creationId="{A3A7B45A-E037-4C71-B4CF-A384DACC1BEA}"/>
          </ac:spMkLst>
        </pc:spChg>
      </pc:sldChg>
      <pc:sldChg chg="modSp">
        <pc:chgData name="Axelsson Jenny" userId="35153831-a041-4e19-963c-026d50be729b" providerId="ADAL" clId="{2DF8AF74-FD25-42EF-95E0-ED3AA4319D6E}" dt="2020-03-10T11:52:27.099" v="527" actId="113"/>
        <pc:sldMkLst>
          <pc:docMk/>
          <pc:sldMk cId="2850266236" sldId="300"/>
        </pc:sldMkLst>
        <pc:spChg chg="mod">
          <ac:chgData name="Axelsson Jenny" userId="35153831-a041-4e19-963c-026d50be729b" providerId="ADAL" clId="{2DF8AF74-FD25-42EF-95E0-ED3AA4319D6E}" dt="2020-03-10T11:52:27.099" v="527" actId="113"/>
          <ac:spMkLst>
            <pc:docMk/>
            <pc:sldMk cId="2850266236" sldId="300"/>
            <ac:spMk id="5" creationId="{E66C5368-8331-464F-8C50-5BB97655E8A7}"/>
          </ac:spMkLst>
        </pc:spChg>
      </pc:sldChg>
      <pc:sldChg chg="addSp delSp modSp add">
        <pc:chgData name="Axelsson Jenny" userId="35153831-a041-4e19-963c-026d50be729b" providerId="ADAL" clId="{2DF8AF74-FD25-42EF-95E0-ED3AA4319D6E}" dt="2020-03-10T11:54:36.248" v="575"/>
        <pc:sldMkLst>
          <pc:docMk/>
          <pc:sldMk cId="738577294" sldId="323"/>
        </pc:sldMkLst>
        <pc:spChg chg="add del">
          <ac:chgData name="Axelsson Jenny" userId="35153831-a041-4e19-963c-026d50be729b" providerId="ADAL" clId="{2DF8AF74-FD25-42EF-95E0-ED3AA4319D6E}" dt="2020-03-10T11:54:30.778" v="573"/>
          <ac:spMkLst>
            <pc:docMk/>
            <pc:sldMk cId="738577294" sldId="323"/>
            <ac:spMk id="3" creationId="{08D1E19A-3069-4C1B-BC1C-669A1A7CA4D7}"/>
          </ac:spMkLst>
        </pc:spChg>
        <pc:spChg chg="mod">
          <ac:chgData name="Axelsson Jenny" userId="35153831-a041-4e19-963c-026d50be729b" providerId="ADAL" clId="{2DF8AF74-FD25-42EF-95E0-ED3AA4319D6E}" dt="2020-03-10T11:52:46.290" v="532" actId="113"/>
          <ac:spMkLst>
            <pc:docMk/>
            <pc:sldMk cId="738577294" sldId="323"/>
            <ac:spMk id="5" creationId="{E66C5368-8331-464F-8C50-5BB97655E8A7}"/>
          </ac:spMkLst>
        </pc:spChg>
        <pc:spChg chg="add del">
          <ac:chgData name="Axelsson Jenny" userId="35153831-a041-4e19-963c-026d50be729b" providerId="ADAL" clId="{2DF8AF74-FD25-42EF-95E0-ED3AA4319D6E}" dt="2020-03-10T11:54:36.248" v="575"/>
          <ac:spMkLst>
            <pc:docMk/>
            <pc:sldMk cId="738577294" sldId="323"/>
            <ac:spMk id="6" creationId="{814E8EF5-B2C1-4D59-9D3B-6C2829C48392}"/>
          </ac:spMkLst>
        </pc:spChg>
      </pc:sldChg>
      <pc:sldChg chg="modSp add">
        <pc:chgData name="Axelsson Jenny" userId="35153831-a041-4e19-963c-026d50be729b" providerId="ADAL" clId="{2DF8AF74-FD25-42EF-95E0-ED3AA4319D6E}" dt="2020-03-10T11:52:53.289" v="534" actId="113"/>
        <pc:sldMkLst>
          <pc:docMk/>
          <pc:sldMk cId="408811970" sldId="324"/>
        </pc:sldMkLst>
        <pc:spChg chg="mod">
          <ac:chgData name="Axelsson Jenny" userId="35153831-a041-4e19-963c-026d50be729b" providerId="ADAL" clId="{2DF8AF74-FD25-42EF-95E0-ED3AA4319D6E}" dt="2020-03-10T11:52:53.289" v="534" actId="113"/>
          <ac:spMkLst>
            <pc:docMk/>
            <pc:sldMk cId="408811970" sldId="324"/>
            <ac:spMk id="5" creationId="{E66C5368-8331-464F-8C50-5BB97655E8A7}"/>
          </ac:spMkLst>
        </pc:spChg>
      </pc:sldChg>
      <pc:sldChg chg="modSp add">
        <pc:chgData name="Axelsson Jenny" userId="35153831-a041-4e19-963c-026d50be729b" providerId="ADAL" clId="{2DF8AF74-FD25-42EF-95E0-ED3AA4319D6E}" dt="2020-03-10T11:53:03.154" v="536" actId="113"/>
        <pc:sldMkLst>
          <pc:docMk/>
          <pc:sldMk cId="343536857" sldId="325"/>
        </pc:sldMkLst>
        <pc:spChg chg="mod">
          <ac:chgData name="Axelsson Jenny" userId="35153831-a041-4e19-963c-026d50be729b" providerId="ADAL" clId="{2DF8AF74-FD25-42EF-95E0-ED3AA4319D6E}" dt="2020-03-10T11:53:03.154" v="536" actId="113"/>
          <ac:spMkLst>
            <pc:docMk/>
            <pc:sldMk cId="343536857" sldId="325"/>
            <ac:spMk id="5" creationId="{E66C5368-8331-464F-8C50-5BB97655E8A7}"/>
          </ac:spMkLst>
        </pc:spChg>
      </pc:sldChg>
      <pc:sldChg chg="modSp add">
        <pc:chgData name="Axelsson Jenny" userId="35153831-a041-4e19-963c-026d50be729b" providerId="ADAL" clId="{2DF8AF74-FD25-42EF-95E0-ED3AA4319D6E}" dt="2020-03-10T11:53:14.676" v="540" actId="113"/>
        <pc:sldMkLst>
          <pc:docMk/>
          <pc:sldMk cId="2354557038" sldId="326"/>
        </pc:sldMkLst>
        <pc:spChg chg="mod">
          <ac:chgData name="Axelsson Jenny" userId="35153831-a041-4e19-963c-026d50be729b" providerId="ADAL" clId="{2DF8AF74-FD25-42EF-95E0-ED3AA4319D6E}" dt="2020-03-10T11:53:14.676" v="540" actId="113"/>
          <ac:spMkLst>
            <pc:docMk/>
            <pc:sldMk cId="2354557038" sldId="326"/>
            <ac:spMk id="5" creationId="{E66C5368-8331-464F-8C50-5BB97655E8A7}"/>
          </ac:spMkLst>
        </pc:spChg>
      </pc:sldChg>
      <pc:sldChg chg="modSp add">
        <pc:chgData name="Axelsson Jenny" userId="35153831-a041-4e19-963c-026d50be729b" providerId="ADAL" clId="{2DF8AF74-FD25-42EF-95E0-ED3AA4319D6E}" dt="2020-03-10T11:53:23.336" v="542" actId="113"/>
        <pc:sldMkLst>
          <pc:docMk/>
          <pc:sldMk cId="1773848130" sldId="327"/>
        </pc:sldMkLst>
        <pc:spChg chg="mod">
          <ac:chgData name="Axelsson Jenny" userId="35153831-a041-4e19-963c-026d50be729b" providerId="ADAL" clId="{2DF8AF74-FD25-42EF-95E0-ED3AA4319D6E}" dt="2020-03-10T11:53:23.336" v="542" actId="113"/>
          <ac:spMkLst>
            <pc:docMk/>
            <pc:sldMk cId="1773848130" sldId="327"/>
            <ac:spMk id="5" creationId="{E66C5368-8331-464F-8C50-5BB97655E8A7}"/>
          </ac:spMkLst>
        </pc:spChg>
      </pc:sldChg>
      <pc:sldChg chg="modSp add">
        <pc:chgData name="Axelsson Jenny" userId="35153831-a041-4e19-963c-026d50be729b" providerId="ADAL" clId="{2DF8AF74-FD25-42EF-95E0-ED3AA4319D6E}" dt="2020-03-10T11:53:39.596" v="546" actId="113"/>
        <pc:sldMkLst>
          <pc:docMk/>
          <pc:sldMk cId="3816173071" sldId="328"/>
        </pc:sldMkLst>
        <pc:spChg chg="mod">
          <ac:chgData name="Axelsson Jenny" userId="35153831-a041-4e19-963c-026d50be729b" providerId="ADAL" clId="{2DF8AF74-FD25-42EF-95E0-ED3AA4319D6E}" dt="2020-03-10T11:53:39.596" v="546" actId="113"/>
          <ac:spMkLst>
            <pc:docMk/>
            <pc:sldMk cId="3816173071" sldId="328"/>
            <ac:spMk id="5" creationId="{E66C5368-8331-464F-8C50-5BB97655E8A7}"/>
          </ac:spMkLst>
        </pc:spChg>
      </pc:sldChg>
      <pc:sldChg chg="modSp add">
        <pc:chgData name="Axelsson Jenny" userId="35153831-a041-4e19-963c-026d50be729b" providerId="ADAL" clId="{2DF8AF74-FD25-42EF-95E0-ED3AA4319D6E}" dt="2020-03-10T11:59:35.045" v="655"/>
        <pc:sldMkLst>
          <pc:docMk/>
          <pc:sldMk cId="327353060" sldId="334"/>
        </pc:sldMkLst>
        <pc:spChg chg="mod">
          <ac:chgData name="Axelsson Jenny" userId="35153831-a041-4e19-963c-026d50be729b" providerId="ADAL" clId="{2DF8AF74-FD25-42EF-95E0-ED3AA4319D6E}" dt="2020-03-10T11:59:00.835" v="652" actId="20577"/>
          <ac:spMkLst>
            <pc:docMk/>
            <pc:sldMk cId="327353060" sldId="334"/>
            <ac:spMk id="2" creationId="{28142FAB-2177-42C2-83A7-B8FCD6F5DAB5}"/>
          </ac:spMkLst>
        </pc:spChg>
        <pc:spChg chg="mod">
          <ac:chgData name="Axelsson Jenny" userId="35153831-a041-4e19-963c-026d50be729b" providerId="ADAL" clId="{2DF8AF74-FD25-42EF-95E0-ED3AA4319D6E}" dt="2020-03-10T11:59:35.045" v="655"/>
          <ac:spMkLst>
            <pc:docMk/>
            <pc:sldMk cId="327353060" sldId="334"/>
            <ac:spMk id="5" creationId="{E66C5368-8331-464F-8C50-5BB97655E8A7}"/>
          </ac:spMkLst>
        </pc:spChg>
      </pc:sldChg>
      <pc:sldChg chg="modSp add">
        <pc:chgData name="Axelsson Jenny" userId="35153831-a041-4e19-963c-026d50be729b" providerId="ADAL" clId="{2DF8AF74-FD25-42EF-95E0-ED3AA4319D6E}" dt="2020-03-10T12:44:01.671" v="1995" actId="12"/>
        <pc:sldMkLst>
          <pc:docMk/>
          <pc:sldMk cId="497868966" sldId="336"/>
        </pc:sldMkLst>
        <pc:spChg chg="mod">
          <ac:chgData name="Axelsson Jenny" userId="35153831-a041-4e19-963c-026d50be729b" providerId="ADAL" clId="{2DF8AF74-FD25-42EF-95E0-ED3AA4319D6E}" dt="2020-03-10T12:00:28.100" v="726" actId="20577"/>
          <ac:spMkLst>
            <pc:docMk/>
            <pc:sldMk cId="497868966" sldId="336"/>
            <ac:spMk id="2" creationId="{28142FAB-2177-42C2-83A7-B8FCD6F5DAB5}"/>
          </ac:spMkLst>
        </pc:spChg>
        <pc:spChg chg="mod">
          <ac:chgData name="Axelsson Jenny" userId="35153831-a041-4e19-963c-026d50be729b" providerId="ADAL" clId="{2DF8AF74-FD25-42EF-95E0-ED3AA4319D6E}" dt="2020-03-10T12:44:01.671" v="1995" actId="12"/>
          <ac:spMkLst>
            <pc:docMk/>
            <pc:sldMk cId="497868966" sldId="336"/>
            <ac:spMk id="5" creationId="{E66C5368-8331-464F-8C50-5BB97655E8A7}"/>
          </ac:spMkLst>
        </pc:spChg>
      </pc:sldChg>
      <pc:sldChg chg="modSp add">
        <pc:chgData name="Axelsson Jenny" userId="35153831-a041-4e19-963c-026d50be729b" providerId="ADAL" clId="{2DF8AF74-FD25-42EF-95E0-ED3AA4319D6E}" dt="2020-03-10T12:44:46.811" v="2000" actId="20577"/>
        <pc:sldMkLst>
          <pc:docMk/>
          <pc:sldMk cId="3180739215" sldId="337"/>
        </pc:sldMkLst>
        <pc:spChg chg="mod">
          <ac:chgData name="Axelsson Jenny" userId="35153831-a041-4e19-963c-026d50be729b" providerId="ADAL" clId="{2DF8AF74-FD25-42EF-95E0-ED3AA4319D6E}" dt="2020-03-10T12:01:55.353" v="787" actId="20577"/>
          <ac:spMkLst>
            <pc:docMk/>
            <pc:sldMk cId="3180739215" sldId="337"/>
            <ac:spMk id="2" creationId="{28142FAB-2177-42C2-83A7-B8FCD6F5DAB5}"/>
          </ac:spMkLst>
        </pc:spChg>
        <pc:spChg chg="mod">
          <ac:chgData name="Axelsson Jenny" userId="35153831-a041-4e19-963c-026d50be729b" providerId="ADAL" clId="{2DF8AF74-FD25-42EF-95E0-ED3AA4319D6E}" dt="2020-03-10T12:44:46.811" v="2000" actId="20577"/>
          <ac:spMkLst>
            <pc:docMk/>
            <pc:sldMk cId="3180739215" sldId="337"/>
            <ac:spMk id="5" creationId="{E66C5368-8331-464F-8C50-5BB97655E8A7}"/>
          </ac:spMkLst>
        </pc:spChg>
      </pc:sldChg>
      <pc:sldChg chg="addSp delSp modSp add delAnim">
        <pc:chgData name="Axelsson Jenny" userId="35153831-a041-4e19-963c-026d50be729b" providerId="ADAL" clId="{2DF8AF74-FD25-42EF-95E0-ED3AA4319D6E}" dt="2020-03-13T07:53:56.247" v="2362" actId="20577"/>
        <pc:sldMkLst>
          <pc:docMk/>
          <pc:sldMk cId="2521471731" sldId="338"/>
        </pc:sldMkLst>
        <pc:spChg chg="mod">
          <ac:chgData name="Axelsson Jenny" userId="35153831-a041-4e19-963c-026d50be729b" providerId="ADAL" clId="{2DF8AF74-FD25-42EF-95E0-ED3AA4319D6E}" dt="2020-03-13T07:52:14.638" v="2082" actId="313"/>
          <ac:spMkLst>
            <pc:docMk/>
            <pc:sldMk cId="2521471731" sldId="338"/>
            <ac:spMk id="2" creationId="{379CD7F9-C9AD-41A3-9483-9CE82CA15D7D}"/>
          </ac:spMkLst>
        </pc:spChg>
        <pc:spChg chg="add del mod">
          <ac:chgData name="Axelsson Jenny" userId="35153831-a041-4e19-963c-026d50be729b" providerId="ADAL" clId="{2DF8AF74-FD25-42EF-95E0-ED3AA4319D6E}" dt="2020-03-13T07:52:31.188" v="2144" actId="478"/>
          <ac:spMkLst>
            <pc:docMk/>
            <pc:sldMk cId="2521471731" sldId="338"/>
            <ac:spMk id="4" creationId="{1C6C0395-61BA-40F5-895B-88678E104943}"/>
          </ac:spMkLst>
        </pc:spChg>
        <pc:spChg chg="mod">
          <ac:chgData name="Axelsson Jenny" userId="35153831-a041-4e19-963c-026d50be729b" providerId="ADAL" clId="{2DF8AF74-FD25-42EF-95E0-ED3AA4319D6E}" dt="2020-03-13T07:53:56.247" v="2362" actId="20577"/>
          <ac:spMkLst>
            <pc:docMk/>
            <pc:sldMk cId="2521471731" sldId="338"/>
            <ac:spMk id="9" creationId="{F4B7927F-166E-4B0C-82C4-5E82217C5FCE}"/>
          </ac:spMkLst>
        </pc:spChg>
        <pc:spChg chg="del">
          <ac:chgData name="Axelsson Jenny" userId="35153831-a041-4e19-963c-026d50be729b" providerId="ADAL" clId="{2DF8AF74-FD25-42EF-95E0-ED3AA4319D6E}" dt="2020-03-13T07:51:30.320" v="2003" actId="478"/>
          <ac:spMkLst>
            <pc:docMk/>
            <pc:sldMk cId="2521471731" sldId="338"/>
            <ac:spMk id="14" creationId="{43914225-6308-4597-B38F-46913AF95B29}"/>
          </ac:spMkLst>
        </pc:spChg>
        <pc:spChg chg="del">
          <ac:chgData name="Axelsson Jenny" userId="35153831-a041-4e19-963c-026d50be729b" providerId="ADAL" clId="{2DF8AF74-FD25-42EF-95E0-ED3AA4319D6E}" dt="2020-03-13T07:51:46.607" v="2005" actId="478"/>
          <ac:spMkLst>
            <pc:docMk/>
            <pc:sldMk cId="2521471731" sldId="338"/>
            <ac:spMk id="15" creationId="{D503900B-1420-4B6C-A6D4-6A0871135072}"/>
          </ac:spMkLst>
        </pc:spChg>
        <pc:spChg chg="del">
          <ac:chgData name="Axelsson Jenny" userId="35153831-a041-4e19-963c-026d50be729b" providerId="ADAL" clId="{2DF8AF74-FD25-42EF-95E0-ED3AA4319D6E}" dt="2020-03-13T07:51:48.608" v="2006" actId="478"/>
          <ac:spMkLst>
            <pc:docMk/>
            <pc:sldMk cId="2521471731" sldId="338"/>
            <ac:spMk id="16" creationId="{D6808F7E-699E-4993-BCE9-1CFE88B39615}"/>
          </ac:spMkLst>
        </pc:spChg>
        <pc:picChg chg="del">
          <ac:chgData name="Axelsson Jenny" userId="35153831-a041-4e19-963c-026d50be729b" providerId="ADAL" clId="{2DF8AF74-FD25-42EF-95E0-ED3AA4319D6E}" dt="2020-03-13T07:51:26.405" v="2002" actId="478"/>
          <ac:picMkLst>
            <pc:docMk/>
            <pc:sldMk cId="2521471731" sldId="338"/>
            <ac:picMk id="8" creationId="{251A2B3E-CFC8-4908-A99F-FD13BDF99797}"/>
          </ac:picMkLst>
        </pc:picChg>
      </pc:sldChg>
    </pc:docChg>
  </pc:docChgLst>
  <pc:docChgLst>
    <pc:chgData name="Stener Kristina" userId="S::kristina.stener@inera.se::3d0f57db-85b0-4a3a-977d-28bf36d6d72e" providerId="AD" clId="Web-{D1D23F26-16D5-4A05-9BAF-5B4751E7FED9}"/>
    <pc:docChg chg="modSld">
      <pc:chgData name="Stener Kristina" userId="S::kristina.stener@inera.se::3d0f57db-85b0-4a3a-977d-28bf36d6d72e" providerId="AD" clId="Web-{D1D23F26-16D5-4A05-9BAF-5B4751E7FED9}" dt="2020-03-18T13:07:38.875" v="78" actId="20577"/>
      <pc:docMkLst>
        <pc:docMk/>
      </pc:docMkLst>
      <pc:sldChg chg="modSp">
        <pc:chgData name="Stener Kristina" userId="S::kristina.stener@inera.se::3d0f57db-85b0-4a3a-977d-28bf36d6d72e" providerId="AD" clId="Web-{D1D23F26-16D5-4A05-9BAF-5B4751E7FED9}" dt="2020-03-18T13:07:38.875" v="78" actId="20577"/>
        <pc:sldMkLst>
          <pc:docMk/>
          <pc:sldMk cId="327353060" sldId="334"/>
        </pc:sldMkLst>
        <pc:spChg chg="mod">
          <ac:chgData name="Stener Kristina" userId="S::kristina.stener@inera.se::3d0f57db-85b0-4a3a-977d-28bf36d6d72e" providerId="AD" clId="Web-{D1D23F26-16D5-4A05-9BAF-5B4751E7FED9}" dt="2020-03-18T13:03:22.580" v="54" actId="20577"/>
          <ac:spMkLst>
            <pc:docMk/>
            <pc:sldMk cId="327353060" sldId="334"/>
            <ac:spMk id="2" creationId="{28142FAB-2177-42C2-83A7-B8FCD6F5DAB5}"/>
          </ac:spMkLst>
        </pc:spChg>
        <pc:spChg chg="mod">
          <ac:chgData name="Stener Kristina" userId="S::kristina.stener@inera.se::3d0f57db-85b0-4a3a-977d-28bf36d6d72e" providerId="AD" clId="Web-{D1D23F26-16D5-4A05-9BAF-5B4751E7FED9}" dt="2020-03-18T13:07:38.875" v="78" actId="20577"/>
          <ac:spMkLst>
            <pc:docMk/>
            <pc:sldMk cId="327353060" sldId="334"/>
            <ac:spMk id="5" creationId="{E66C5368-8331-464F-8C50-5BB97655E8A7}"/>
          </ac:spMkLst>
        </pc:spChg>
      </pc:sldChg>
    </pc:docChg>
  </pc:docChgLst>
  <pc:docChgLst>
    <pc:chgData name="Jonsson Åsa" userId="S::asa.jonsson@inera.se::e7c157ac-c4f4-446a-aea7-2d9507f60b0e" providerId="AD" clId="Web-{59B776A2-AF1F-4695-BDFE-116F889A33F2}"/>
    <pc:docChg chg="delSld">
      <pc:chgData name="Jonsson Åsa" userId="S::asa.jonsson@inera.se::e7c157ac-c4f4-446a-aea7-2d9507f60b0e" providerId="AD" clId="Web-{59B776A2-AF1F-4695-BDFE-116F889A33F2}" dt="2020-03-19T10:02:12.313" v="0"/>
      <pc:docMkLst>
        <pc:docMk/>
      </pc:docMkLst>
      <pc:sldChg chg="del">
        <pc:chgData name="Jonsson Åsa" userId="S::asa.jonsson@inera.se::e7c157ac-c4f4-446a-aea7-2d9507f60b0e" providerId="AD" clId="Web-{59B776A2-AF1F-4695-BDFE-116F889A33F2}" dt="2020-03-19T10:02:12.313" v="0"/>
        <pc:sldMkLst>
          <pc:docMk/>
          <pc:sldMk cId="3873183143" sldId="332"/>
        </pc:sldMkLst>
      </pc:sldChg>
    </pc:docChg>
  </pc:docChgLst>
  <pc:docChgLst>
    <pc:chgData name="Axelsson Jenny" userId="S::jenny.axelsson@inera.se::35153831-a041-4e19-963c-026d50be729b" providerId="AD" clId="Web-{FE78FD20-C99F-4159-9092-CBC6556193DC}"/>
    <pc:docChg chg="delSld modSld sldOrd">
      <pc:chgData name="Axelsson Jenny" userId="S::jenny.axelsson@inera.se::35153831-a041-4e19-963c-026d50be729b" providerId="AD" clId="Web-{FE78FD20-C99F-4159-9092-CBC6556193DC}" dt="2020-02-04T14:04:17.313" v="7" actId="20577"/>
      <pc:docMkLst>
        <pc:docMk/>
      </pc:docMkLst>
      <pc:sldChg chg="modSp">
        <pc:chgData name="Axelsson Jenny" userId="S::jenny.axelsson@inera.se::35153831-a041-4e19-963c-026d50be729b" providerId="AD" clId="Web-{FE78FD20-C99F-4159-9092-CBC6556193DC}" dt="2020-02-04T14:04:17.313" v="7" actId="20577"/>
        <pc:sldMkLst>
          <pc:docMk/>
          <pc:sldMk cId="1351546238" sldId="267"/>
        </pc:sldMkLst>
        <pc:spChg chg="mod">
          <ac:chgData name="Axelsson Jenny" userId="S::jenny.axelsson@inera.se::35153831-a041-4e19-963c-026d50be729b" providerId="AD" clId="Web-{FE78FD20-C99F-4159-9092-CBC6556193DC}" dt="2020-02-04T14:04:17.313" v="7" actId="20577"/>
          <ac:spMkLst>
            <pc:docMk/>
            <pc:sldMk cId="1351546238" sldId="267"/>
            <ac:spMk id="5" creationId="{E66C5368-8331-464F-8C50-5BB97655E8A7}"/>
          </ac:spMkLst>
        </pc:spChg>
      </pc:sldChg>
    </pc:docChg>
  </pc:docChgLst>
  <pc:docChgLst>
    <pc:chgData name="Stener Kristina" userId="S::kristina.stener@inera.se::3d0f57db-85b0-4a3a-977d-28bf36d6d72e" providerId="AD" clId="Web-{15035E7F-C717-4D22-AAF8-9E61792F0BE9}"/>
    <pc:docChg chg="modSld">
      <pc:chgData name="Stener Kristina" userId="S::kristina.stener@inera.se::3d0f57db-85b0-4a3a-977d-28bf36d6d72e" providerId="AD" clId="Web-{15035E7F-C717-4D22-AAF8-9E61792F0BE9}" dt="2020-03-19T12:55:36.876" v="97" actId="20577"/>
      <pc:docMkLst>
        <pc:docMk/>
      </pc:docMkLst>
      <pc:sldChg chg="modSp">
        <pc:chgData name="Stener Kristina" userId="S::kristina.stener@inera.se::3d0f57db-85b0-4a3a-977d-28bf36d6d72e" providerId="AD" clId="Web-{15035E7F-C717-4D22-AAF8-9E61792F0BE9}" dt="2020-03-19T12:45:31.727" v="1"/>
        <pc:sldMkLst>
          <pc:docMk/>
          <pc:sldMk cId="2615424933" sldId="259"/>
        </pc:sldMkLst>
        <pc:graphicFrameChg chg="mod modGraphic">
          <ac:chgData name="Stener Kristina" userId="S::kristina.stener@inera.se::3d0f57db-85b0-4a3a-977d-28bf36d6d72e" providerId="AD" clId="Web-{15035E7F-C717-4D22-AAF8-9E61792F0BE9}" dt="2020-03-19T12:45:31.727" v="1"/>
          <ac:graphicFrameMkLst>
            <pc:docMk/>
            <pc:sldMk cId="2615424933" sldId="259"/>
            <ac:graphicFrameMk id="8" creationId="{D9EBF709-079F-4BAA-8E69-031AA23CACF2}"/>
          </ac:graphicFrameMkLst>
        </pc:graphicFrameChg>
      </pc:sldChg>
      <pc:sldChg chg="modSp">
        <pc:chgData name="Stener Kristina" userId="S::kristina.stener@inera.se::3d0f57db-85b0-4a3a-977d-28bf36d6d72e" providerId="AD" clId="Web-{15035E7F-C717-4D22-AAF8-9E61792F0BE9}" dt="2020-03-19T12:55:36.876" v="97" actId="20577"/>
        <pc:sldMkLst>
          <pc:docMk/>
          <pc:sldMk cId="327353060" sldId="334"/>
        </pc:sldMkLst>
        <pc:spChg chg="mod">
          <ac:chgData name="Stener Kristina" userId="S::kristina.stener@inera.se::3d0f57db-85b0-4a3a-977d-28bf36d6d72e" providerId="AD" clId="Web-{15035E7F-C717-4D22-AAF8-9E61792F0BE9}" dt="2020-03-19T12:55:36.876" v="97" actId="20577"/>
          <ac:spMkLst>
            <pc:docMk/>
            <pc:sldMk cId="327353060" sldId="334"/>
            <ac:spMk id="5" creationId="{E66C5368-8331-464F-8C50-5BB97655E8A7}"/>
          </ac:spMkLst>
        </pc:spChg>
      </pc:sldChg>
    </pc:docChg>
  </pc:docChgLst>
  <pc:docChgLst>
    <pc:chgData name="Jonsson Åsa" userId="S::asa.jonsson@inera.se::e7c157ac-c4f4-446a-aea7-2d9507f60b0e" providerId="AD" clId="Web-{924689A1-9774-43C1-87F2-2CB898FE125F}"/>
    <pc:docChg chg="modSld">
      <pc:chgData name="Jonsson Åsa" userId="S::asa.jonsson@inera.se::e7c157ac-c4f4-446a-aea7-2d9507f60b0e" providerId="AD" clId="Web-{924689A1-9774-43C1-87F2-2CB898FE125F}" dt="2020-03-20T08:29:43.031" v="16" actId="20577"/>
      <pc:docMkLst>
        <pc:docMk/>
      </pc:docMkLst>
      <pc:sldChg chg="modSp">
        <pc:chgData name="Jonsson Åsa" userId="S::asa.jonsson@inera.se::e7c157ac-c4f4-446a-aea7-2d9507f60b0e" providerId="AD" clId="Web-{924689A1-9774-43C1-87F2-2CB898FE125F}" dt="2020-03-20T08:29:43.031" v="16" actId="20577"/>
        <pc:sldMkLst>
          <pc:docMk/>
          <pc:sldMk cId="1351546238" sldId="267"/>
        </pc:sldMkLst>
        <pc:spChg chg="mod">
          <ac:chgData name="Jonsson Åsa" userId="S::asa.jonsson@inera.se::e7c157ac-c4f4-446a-aea7-2d9507f60b0e" providerId="AD" clId="Web-{924689A1-9774-43C1-87F2-2CB898FE125F}" dt="2020-03-20T08:29:43.031" v="16" actId="20577"/>
          <ac:spMkLst>
            <pc:docMk/>
            <pc:sldMk cId="1351546238" sldId="267"/>
            <ac:spMk id="5" creationId="{E66C5368-8331-464F-8C50-5BB97655E8A7}"/>
          </ac:spMkLst>
        </pc:spChg>
      </pc:sldChg>
    </pc:docChg>
  </pc:docChgLst>
  <pc:docChgLst>
    <pc:chgData name="Jonsson Åsa" userId="e7c157ac-c4f4-446a-aea7-2d9507f60b0e" providerId="ADAL" clId="{633EA765-ACCE-49DB-8062-0A6FE447D322}"/>
    <pc:docChg chg="custSel addSld delSld modSld">
      <pc:chgData name="Jonsson Åsa" userId="e7c157ac-c4f4-446a-aea7-2d9507f60b0e" providerId="ADAL" clId="{633EA765-ACCE-49DB-8062-0A6FE447D322}" dt="2020-03-19T09:54:05.434" v="2"/>
      <pc:docMkLst>
        <pc:docMk/>
      </pc:docMkLst>
      <pc:sldChg chg="add">
        <pc:chgData name="Jonsson Åsa" userId="e7c157ac-c4f4-446a-aea7-2d9507f60b0e" providerId="ADAL" clId="{633EA765-ACCE-49DB-8062-0A6FE447D322}" dt="2020-03-19T09:53:56.602" v="0"/>
        <pc:sldMkLst>
          <pc:docMk/>
          <pc:sldMk cId="2615424933" sldId="259"/>
        </pc:sldMkLst>
      </pc:sldChg>
      <pc:sldChg chg="add">
        <pc:chgData name="Jonsson Åsa" userId="e7c157ac-c4f4-446a-aea7-2d9507f60b0e" providerId="ADAL" clId="{633EA765-ACCE-49DB-8062-0A6FE447D322}" dt="2020-03-19T09:54:05.434" v="2"/>
        <pc:sldMkLst>
          <pc:docMk/>
          <pc:sldMk cId="837906056" sldId="339"/>
        </pc:sldMkLst>
      </pc:sldChg>
      <pc:sldChg chg="add del">
        <pc:chgData name="Jonsson Åsa" userId="e7c157ac-c4f4-446a-aea7-2d9507f60b0e" providerId="ADAL" clId="{633EA765-ACCE-49DB-8062-0A6FE447D322}" dt="2020-03-19T09:54:01.591" v="1" actId="2696"/>
        <pc:sldMkLst>
          <pc:docMk/>
          <pc:sldMk cId="1292802842" sldId="339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3D13-F35E-4529-B3F7-0633FF5C8FD7}" type="datetimeFigureOut">
              <a:rPr lang="sv-SE" smtClean="0"/>
              <a:t>2020-03-2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EDCF4-EC53-45ED-9657-3068B2115E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2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1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95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419791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4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2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22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84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2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65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223EEBE-07D2-4BC2-B732-B72D949B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497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411" imgH="412" progId="TCLayout.ActiveDocument.1">
                  <p:embed/>
                </p:oleObj>
              </mc:Choice>
              <mc:Fallback>
                <p:oleObj name="think-cell Slide" r:id="rId17" imgW="411" imgH="412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223EEBE-07D2-4BC2-B732-B72D949B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92491012-DCA1-42B2-89F4-9B6C3B60D0E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400" b="1" i="0" baseline="0">
              <a:latin typeface="Inter"/>
              <a:ea typeface="+mj-ea"/>
              <a:cs typeface="+mj-cs"/>
              <a:sym typeface="Inter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8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9" r:id="rId4"/>
    <p:sldLayoutId id="2147483656" r:id="rId5"/>
    <p:sldLayoutId id="2147483657" r:id="rId6"/>
    <p:sldLayoutId id="2147483660" r:id="rId7"/>
    <p:sldLayoutId id="2147483653" r:id="rId8"/>
    <p:sldLayoutId id="2147483654" r:id="rId9"/>
    <p:sldLayoutId id="2147483650" r:id="rId10"/>
    <p:sldLayoutId id="2147483652" r:id="rId11"/>
    <p:sldLayoutId id="214748365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tulayikt.blogspot.com/2014/02/evernote-anteckningsbildsamlare.html?spref=pi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personal.sob.1177.se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tulayikt.blogspot.com/2014/02/evernote-anteckningsbildsamlare.html?spref=pi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e-tjanster@1177.se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inera.atlassian.net/wiki/spaces/OSOB/pages/3062403/Checklistor+och+lathundar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ervice.projectplace.com/#project/823230140/documents/104745156" TargetMode="External"/><Relationship Id="rId2" Type="http://schemas.openxmlformats.org/officeDocument/2006/relationships/hyperlink" Target="https://service.projectplace.com/#project/823230140/documents/104745156/1257741169" TargetMode="Externa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inera.atlassian.net/wiki/spaces/SOBD/pages/2600538/Grundkunskaper+f+r+designer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6573EA7-C0D5-4A99-856B-5428F6A2DA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/>
          <a:lstStyle/>
          <a:p>
            <a:r>
              <a:rPr lang="sv-SE">
                <a:solidFill>
                  <a:schemeClr val="accent1"/>
                </a:solidFill>
              </a:rPr>
              <a:t>Användarforum </a:t>
            </a:r>
            <a:br>
              <a:rPr lang="sv-SE">
                <a:solidFill>
                  <a:schemeClr val="accent1"/>
                </a:solidFill>
              </a:rPr>
            </a:br>
            <a:r>
              <a:rPr lang="sv-SE" sz="1200">
                <a:solidFill>
                  <a:schemeClr val="accent1"/>
                </a:solidFill>
              </a:rPr>
              <a:t> </a:t>
            </a:r>
            <a:br>
              <a:rPr lang="sv-SE">
                <a:solidFill>
                  <a:schemeClr val="accent1"/>
                </a:solidFill>
              </a:rPr>
            </a:br>
            <a:r>
              <a:rPr lang="sv-SE" sz="3600">
                <a:solidFill>
                  <a:schemeClr val="accent1"/>
                </a:solidFill>
              </a:rPr>
              <a:t>Stöd och behandling</a:t>
            </a:r>
            <a:endParaRPr lang="sv-SE"/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7C3A8192-81A1-4B54-8CE2-055E1C43C1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/>
              <a:t>2020-03-20</a:t>
            </a:r>
          </a:p>
        </p:txBody>
      </p:sp>
    </p:spTree>
    <p:extLst>
      <p:ext uri="{BB962C8B-B14F-4D97-AF65-F5344CB8AC3E}">
        <p14:creationId xmlns:p14="http://schemas.microsoft.com/office/powerpoint/2010/main" val="29745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79CD7F9-C9AD-41A3-9483-9CE82CA15D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689526"/>
          </a:xfrm>
        </p:spPr>
        <p:txBody>
          <a:bodyPr/>
          <a:lstStyle/>
          <a:p>
            <a:r>
              <a:rPr lang="sv-SE"/>
              <a:t>Förenklad bild över hur inloggning går till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3C1CB9C-26EF-4331-A3F5-5578CE346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10</a:t>
            </a:fld>
            <a:endParaRPr lang="sv-SE"/>
          </a:p>
        </p:txBody>
      </p:sp>
      <p:sp>
        <p:nvSpPr>
          <p:cNvPr id="9" name="Platshållare för innehåll 9">
            <a:extLst>
              <a:ext uri="{FF2B5EF4-FFF2-40B4-BE49-F238E27FC236}">
                <a16:creationId xmlns:a16="http://schemas.microsoft.com/office/drawing/2014/main" id="{F4B7927F-166E-4B0C-82C4-5E82217C5FCE}"/>
              </a:ext>
            </a:extLst>
          </p:cNvPr>
          <p:cNvSpPr txBox="1">
            <a:spLocks/>
          </p:cNvSpPr>
          <p:nvPr/>
        </p:nvSpPr>
        <p:spPr>
          <a:xfrm>
            <a:off x="922424" y="1693273"/>
            <a:ext cx="4160379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/>
          </a:p>
        </p:txBody>
      </p:sp>
      <p:sp>
        <p:nvSpPr>
          <p:cNvPr id="15" name="Ellips 14">
            <a:extLst>
              <a:ext uri="{FF2B5EF4-FFF2-40B4-BE49-F238E27FC236}">
                <a16:creationId xmlns:a16="http://schemas.microsoft.com/office/drawing/2014/main" id="{D503900B-1420-4B6C-A6D4-6A0871135072}"/>
              </a:ext>
            </a:extLst>
          </p:cNvPr>
          <p:cNvSpPr/>
          <p:nvPr/>
        </p:nvSpPr>
        <p:spPr>
          <a:xfrm>
            <a:off x="7094069" y="1844057"/>
            <a:ext cx="2358522" cy="309004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8CF4F9B7-A94A-4FDC-B912-7CFCE41CC04E}"/>
              </a:ext>
            </a:extLst>
          </p:cNvPr>
          <p:cNvGrpSpPr/>
          <p:nvPr/>
        </p:nvGrpSpPr>
        <p:grpSpPr>
          <a:xfrm>
            <a:off x="2506662" y="773748"/>
            <a:ext cx="7178675" cy="5310505"/>
            <a:chOff x="0" y="0"/>
            <a:chExt cx="7178676" cy="5310823"/>
          </a:xfrm>
        </p:grpSpPr>
        <p:grpSp>
          <p:nvGrpSpPr>
            <p:cNvPr id="12" name="Grupp 11">
              <a:extLst>
                <a:ext uri="{FF2B5EF4-FFF2-40B4-BE49-F238E27FC236}">
                  <a16:creationId xmlns:a16="http://schemas.microsoft.com/office/drawing/2014/main" id="{A439ACE0-B7D2-4CB4-8EEC-632F683F416A}"/>
                </a:ext>
              </a:extLst>
            </p:cNvPr>
            <p:cNvGrpSpPr/>
            <p:nvPr/>
          </p:nvGrpSpPr>
          <p:grpSpPr>
            <a:xfrm>
              <a:off x="966788" y="1316038"/>
              <a:ext cx="5076825" cy="3994785"/>
              <a:chOff x="0" y="0"/>
              <a:chExt cx="5076825" cy="3994785"/>
            </a:xfrm>
          </p:grpSpPr>
          <p:pic>
            <p:nvPicPr>
              <p:cNvPr id="19" name="Bildobjekt 18">
                <a:extLst>
                  <a:ext uri="{FF2B5EF4-FFF2-40B4-BE49-F238E27FC236}">
                    <a16:creationId xmlns:a16="http://schemas.microsoft.com/office/drawing/2014/main" id="{75FD8474-2E2F-4A18-A38E-6631F4329A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3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5076825" cy="3695700"/>
              </a:xfrm>
              <a:prstGeom prst="rect">
                <a:avLst/>
              </a:prstGeom>
            </p:spPr>
          </p:pic>
          <p:sp>
            <p:nvSpPr>
              <p:cNvPr id="20" name="Textruta 3">
                <a:extLst>
                  <a:ext uri="{FF2B5EF4-FFF2-40B4-BE49-F238E27FC236}">
                    <a16:creationId xmlns:a16="http://schemas.microsoft.com/office/drawing/2014/main" id="{9652D99C-DE07-4FF8-8D32-BF44B5593440}"/>
                  </a:ext>
                </a:extLst>
              </p:cNvPr>
              <p:cNvSpPr txBox="1"/>
              <p:nvPr/>
            </p:nvSpPr>
            <p:spPr>
              <a:xfrm>
                <a:off x="0" y="3695700"/>
                <a:ext cx="5076825" cy="299085"/>
              </a:xfrm>
              <a:prstGeom prst="rect">
                <a:avLst/>
              </a:prstGeom>
              <a:solidFill>
                <a:prstClr val="white"/>
              </a:solidFill>
              <a:ln>
                <a:noFill/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100"/>
                  </a:spcBef>
                  <a:spcAft>
                    <a:spcPts val="500"/>
                  </a:spcAft>
                </a:pPr>
                <a:r>
                  <a:rPr lang="sv-SE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  <a:endParaRPr lang="sv-SE" sz="11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</p:grpSp>
        <p:sp>
          <p:nvSpPr>
            <p:cNvPr id="13" name="Figur 2">
              <a:extLst>
                <a:ext uri="{FF2B5EF4-FFF2-40B4-BE49-F238E27FC236}">
                  <a16:creationId xmlns:a16="http://schemas.microsoft.com/office/drawing/2014/main" id="{2A6E1D09-18D7-427D-8C1B-D80A72D6A7D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767263" y="-194627"/>
              <a:ext cx="2216785" cy="2606040"/>
            </a:xfrm>
            <a:prstGeom prst="roundRect">
              <a:avLst>
                <a:gd name="adj" fmla="val 13032"/>
              </a:avLst>
            </a:prstGeom>
            <a:solidFill>
              <a:schemeClr val="accent1"/>
            </a:solidFill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457200" indent="-228600" algn="ctr">
                <a:spcBef>
                  <a:spcPts val="100"/>
                </a:spcBef>
                <a:spcAft>
                  <a:spcPts val="500"/>
                </a:spcAft>
              </a:pPr>
              <a:r>
                <a:rPr lang="sv-SE" sz="1400" i="1">
                  <a:solidFill>
                    <a:srgbClr val="FFFFFF"/>
                  </a:solidFill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. </a:t>
              </a: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är man skriver  in adressen till SOB så hamnar man först hos vår driftleverantör, där en </a:t>
              </a:r>
              <a:r>
                <a:rPr lang="sv-SE" sz="1400" i="1" err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webserver</a:t>
              </a: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skickar vidare anropet till NTJP och </a:t>
              </a:r>
              <a:r>
                <a:rPr lang="sv-SE" sz="1400" i="1" err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dP</a:t>
              </a: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. Därefter får man upp en ruta för att slå in sin kod till SITHS-kortet</a:t>
              </a:r>
              <a:endParaRPr lang="sv-SE" sz="11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7" name="Textruta 2">
              <a:extLst>
                <a:ext uri="{FF2B5EF4-FFF2-40B4-BE49-F238E27FC236}">
                  <a16:creationId xmlns:a16="http://schemas.microsoft.com/office/drawing/2014/main" id="{41286564-0C77-4CC9-8921-4DF803BBD7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28988" y="2542858"/>
              <a:ext cx="1889760" cy="3276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spcBef>
                  <a:spcPts val="100"/>
                </a:spcBef>
                <a:spcAft>
                  <a:spcPts val="500"/>
                </a:spcAft>
              </a:pPr>
              <a:r>
                <a:rPr lang="sv-SE" sz="1100" b="1" u="sng">
                  <a:solidFill>
                    <a:srgbClr val="CD5227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hlinkClick r:id="rId4"/>
                </a:rPr>
                <a:t>https://</a:t>
              </a:r>
              <a:r>
                <a:rPr lang="sv-SE" sz="1200" b="1" u="sng">
                  <a:solidFill>
                    <a:srgbClr val="CD5227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hlinkClick r:id="rId4"/>
                </a:rPr>
                <a:t>personal</a:t>
              </a:r>
              <a:r>
                <a:rPr lang="sv-SE" sz="1100" b="1" u="sng">
                  <a:solidFill>
                    <a:srgbClr val="CD5227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hlinkClick r:id="rId4"/>
                </a:rPr>
                <a:t>.sob.1177.se</a:t>
              </a:r>
              <a:endParaRPr lang="sv-SE" sz="11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>
                <a:spcBef>
                  <a:spcPts val="100"/>
                </a:spcBef>
                <a:spcAft>
                  <a:spcPts val="500"/>
                </a:spcAft>
              </a:pPr>
              <a:r>
                <a:rPr lang="sv-SE" sz="11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 </a:t>
              </a:r>
            </a:p>
          </p:txBody>
        </p:sp>
        <p:sp>
          <p:nvSpPr>
            <p:cNvPr id="18" name="Figur 2">
              <a:extLst>
                <a:ext uri="{FF2B5EF4-FFF2-40B4-BE49-F238E27FC236}">
                  <a16:creationId xmlns:a16="http://schemas.microsoft.com/office/drawing/2014/main" id="{63FA8B8E-DDCC-4325-8DC6-7E11782D203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7465" y="325756"/>
              <a:ext cx="2531110" cy="2606040"/>
            </a:xfrm>
            <a:prstGeom prst="roundRect">
              <a:avLst>
                <a:gd name="adj" fmla="val 13032"/>
              </a:avLst>
            </a:prstGeom>
            <a:solidFill>
              <a:schemeClr val="accent1"/>
            </a:solidFill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500"/>
                </a:spcAft>
              </a:pP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. När man slagit in sin kod blir man autentiserad och får en biljett, därefter skickar </a:t>
              </a:r>
              <a:r>
                <a:rPr lang="sv-SE" sz="1400" i="1" err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dP:n</a:t>
              </a: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tillbaka den som loggar in tillbaka till </a:t>
              </a:r>
              <a:r>
                <a:rPr lang="sv-SE" sz="1400" i="1" err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webservern</a:t>
              </a: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som hanterar adressen </a:t>
              </a:r>
              <a:r>
                <a:rPr lang="sv-SE" sz="1400" i="1" u="sng"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personal.sob.1177.se</a:t>
              </a:r>
              <a:r>
                <a:rPr lang="sv-SE" sz="1400" i="1"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</a:t>
              </a: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och man loggar nu in i Stöd och behandling utifrån vem man är och vilken roll man har</a:t>
              </a:r>
              <a:endParaRPr lang="sv-SE" sz="11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>
                <a:spcBef>
                  <a:spcPts val="100"/>
                </a:spcBef>
                <a:spcAft>
                  <a:spcPts val="500"/>
                </a:spcAft>
              </a:pPr>
              <a:r>
                <a:rPr lang="sv-SE" sz="11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1088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79CD7F9-C9AD-41A3-9483-9CE82CA15D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689526"/>
          </a:xfrm>
        </p:spPr>
        <p:txBody>
          <a:bodyPr/>
          <a:lstStyle/>
          <a:p>
            <a:r>
              <a:rPr lang="sv-SE"/>
              <a:t>Förenklad bild över hur inloggning går till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3C1CB9C-26EF-4331-A3F5-5578CE346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11</a:t>
            </a:fld>
            <a:endParaRPr lang="sv-SE"/>
          </a:p>
        </p:txBody>
      </p:sp>
      <p:sp>
        <p:nvSpPr>
          <p:cNvPr id="9" name="Platshållare för innehåll 9">
            <a:extLst>
              <a:ext uri="{FF2B5EF4-FFF2-40B4-BE49-F238E27FC236}">
                <a16:creationId xmlns:a16="http://schemas.microsoft.com/office/drawing/2014/main" id="{F4B7927F-166E-4B0C-82C4-5E82217C5FCE}"/>
              </a:ext>
            </a:extLst>
          </p:cNvPr>
          <p:cNvSpPr txBox="1">
            <a:spLocks/>
          </p:cNvSpPr>
          <p:nvPr/>
        </p:nvSpPr>
        <p:spPr>
          <a:xfrm>
            <a:off x="922424" y="1693273"/>
            <a:ext cx="4160379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/>
          </a:p>
        </p:txBody>
      </p:sp>
      <p:sp>
        <p:nvSpPr>
          <p:cNvPr id="15" name="Ellips 14">
            <a:extLst>
              <a:ext uri="{FF2B5EF4-FFF2-40B4-BE49-F238E27FC236}">
                <a16:creationId xmlns:a16="http://schemas.microsoft.com/office/drawing/2014/main" id="{D503900B-1420-4B6C-A6D4-6A0871135072}"/>
              </a:ext>
            </a:extLst>
          </p:cNvPr>
          <p:cNvSpPr/>
          <p:nvPr/>
        </p:nvSpPr>
        <p:spPr>
          <a:xfrm>
            <a:off x="7094069" y="1844057"/>
            <a:ext cx="2358522" cy="309004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8CF4F9B7-A94A-4FDC-B912-7CFCE41CC04E}"/>
              </a:ext>
            </a:extLst>
          </p:cNvPr>
          <p:cNvGrpSpPr/>
          <p:nvPr/>
        </p:nvGrpSpPr>
        <p:grpSpPr>
          <a:xfrm>
            <a:off x="2506662" y="773748"/>
            <a:ext cx="7178675" cy="5310505"/>
            <a:chOff x="0" y="0"/>
            <a:chExt cx="7178676" cy="5310823"/>
          </a:xfrm>
        </p:grpSpPr>
        <p:grpSp>
          <p:nvGrpSpPr>
            <p:cNvPr id="12" name="Grupp 11">
              <a:extLst>
                <a:ext uri="{FF2B5EF4-FFF2-40B4-BE49-F238E27FC236}">
                  <a16:creationId xmlns:a16="http://schemas.microsoft.com/office/drawing/2014/main" id="{A439ACE0-B7D2-4CB4-8EEC-632F683F416A}"/>
                </a:ext>
              </a:extLst>
            </p:cNvPr>
            <p:cNvGrpSpPr/>
            <p:nvPr/>
          </p:nvGrpSpPr>
          <p:grpSpPr>
            <a:xfrm>
              <a:off x="966788" y="1316038"/>
              <a:ext cx="5076825" cy="3994785"/>
              <a:chOff x="0" y="0"/>
              <a:chExt cx="5076825" cy="3994785"/>
            </a:xfrm>
          </p:grpSpPr>
          <p:pic>
            <p:nvPicPr>
              <p:cNvPr id="19" name="Bildobjekt 18">
                <a:extLst>
                  <a:ext uri="{FF2B5EF4-FFF2-40B4-BE49-F238E27FC236}">
                    <a16:creationId xmlns:a16="http://schemas.microsoft.com/office/drawing/2014/main" id="{75FD8474-2E2F-4A18-A38E-6631F4329A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3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5076825" cy="3695700"/>
              </a:xfrm>
              <a:prstGeom prst="rect">
                <a:avLst/>
              </a:prstGeom>
            </p:spPr>
          </p:pic>
          <p:sp>
            <p:nvSpPr>
              <p:cNvPr id="20" name="Textruta 3">
                <a:extLst>
                  <a:ext uri="{FF2B5EF4-FFF2-40B4-BE49-F238E27FC236}">
                    <a16:creationId xmlns:a16="http://schemas.microsoft.com/office/drawing/2014/main" id="{9652D99C-DE07-4FF8-8D32-BF44B5593440}"/>
                  </a:ext>
                </a:extLst>
              </p:cNvPr>
              <p:cNvSpPr txBox="1"/>
              <p:nvPr/>
            </p:nvSpPr>
            <p:spPr>
              <a:xfrm>
                <a:off x="0" y="3695700"/>
                <a:ext cx="5076825" cy="299085"/>
              </a:xfrm>
              <a:prstGeom prst="rect">
                <a:avLst/>
              </a:prstGeom>
              <a:solidFill>
                <a:prstClr val="white"/>
              </a:solidFill>
              <a:ln>
                <a:noFill/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ts val="100"/>
                  </a:spcBef>
                  <a:spcAft>
                    <a:spcPts val="500"/>
                  </a:spcAft>
                </a:pPr>
                <a:r>
                  <a:rPr lang="sv-SE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  <a:endParaRPr lang="sv-SE" sz="11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</p:grpSp>
        <p:sp>
          <p:nvSpPr>
            <p:cNvPr id="13" name="Figur 2">
              <a:extLst>
                <a:ext uri="{FF2B5EF4-FFF2-40B4-BE49-F238E27FC236}">
                  <a16:creationId xmlns:a16="http://schemas.microsoft.com/office/drawing/2014/main" id="{2A6E1D09-18D7-427D-8C1B-D80A72D6A7D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767263" y="-194627"/>
              <a:ext cx="2216785" cy="2606040"/>
            </a:xfrm>
            <a:prstGeom prst="roundRect">
              <a:avLst>
                <a:gd name="adj" fmla="val 13032"/>
              </a:avLst>
            </a:prstGeom>
            <a:solidFill>
              <a:schemeClr val="accent1"/>
            </a:solidFill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457200" indent="-228600" algn="ctr">
                <a:spcBef>
                  <a:spcPts val="100"/>
                </a:spcBef>
                <a:spcAft>
                  <a:spcPts val="500"/>
                </a:spcAft>
              </a:pPr>
              <a:r>
                <a:rPr lang="sv-SE" sz="1400" i="1">
                  <a:solidFill>
                    <a:srgbClr val="FFFFFF"/>
                  </a:solidFill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. </a:t>
              </a: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När man som invånare ska logga  in till Stöd och behandling går man till 1177.se och väljer logga in </a:t>
              </a:r>
              <a:endParaRPr lang="sv-SE" sz="11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7" name="Textruta 2">
              <a:extLst>
                <a:ext uri="{FF2B5EF4-FFF2-40B4-BE49-F238E27FC236}">
                  <a16:creationId xmlns:a16="http://schemas.microsoft.com/office/drawing/2014/main" id="{41286564-0C77-4CC9-8921-4DF803BBD7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28988" y="2542858"/>
              <a:ext cx="1889760" cy="3276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>
                <a:spcBef>
                  <a:spcPts val="100"/>
                </a:spcBef>
                <a:spcAft>
                  <a:spcPts val="500"/>
                </a:spcAft>
              </a:pPr>
              <a:r>
                <a:rPr lang="sv-SE" sz="1100" b="1" u="sng">
                  <a:solidFill>
                    <a:srgbClr val="CD5227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177.se</a:t>
              </a:r>
              <a:endParaRPr lang="sv-SE" sz="11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>
                <a:spcBef>
                  <a:spcPts val="100"/>
                </a:spcBef>
                <a:spcAft>
                  <a:spcPts val="500"/>
                </a:spcAft>
              </a:pPr>
              <a:r>
                <a:rPr lang="sv-SE" sz="11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 </a:t>
              </a:r>
            </a:p>
          </p:txBody>
        </p:sp>
        <p:sp>
          <p:nvSpPr>
            <p:cNvPr id="18" name="Figur 2">
              <a:extLst>
                <a:ext uri="{FF2B5EF4-FFF2-40B4-BE49-F238E27FC236}">
                  <a16:creationId xmlns:a16="http://schemas.microsoft.com/office/drawing/2014/main" id="{63FA8B8E-DDCC-4325-8DC6-7E11782D203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7465" y="325756"/>
              <a:ext cx="2531110" cy="2606040"/>
            </a:xfrm>
            <a:prstGeom prst="roundRect">
              <a:avLst>
                <a:gd name="adj" fmla="val 13032"/>
              </a:avLst>
            </a:prstGeom>
            <a:solidFill>
              <a:schemeClr val="accent1"/>
            </a:solidFill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500"/>
                </a:spcAft>
              </a:pP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. Som invånare kan man välja flera olika sätt att logga in på, </a:t>
              </a:r>
              <a:r>
                <a:rPr lang="sv-SE" sz="1400" i="1" err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bl</a:t>
              </a:r>
              <a:r>
                <a:rPr lang="sv-SE" sz="1400" i="1">
                  <a:solidFill>
                    <a:srgbClr val="FFFFFF"/>
                  </a:solidFill>
                  <a:effectLst/>
                  <a:latin typeface="Cambria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a mobilt bank-id, Freja e-Id Plus</a:t>
              </a:r>
              <a:endParaRPr lang="sv-SE" sz="11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>
                <a:spcBef>
                  <a:spcPts val="100"/>
                </a:spcBef>
                <a:spcAft>
                  <a:spcPts val="500"/>
                </a:spcAft>
              </a:pPr>
              <a:r>
                <a:rPr lang="sv-SE" sz="11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23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03A8CD1-9AE9-4F99-9A45-050A560D9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Olika sätt att logga in till 1177 E-tjänsterna för invånar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DD67509-5B94-4F01-89EF-7D604E49FF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8426" y="1764711"/>
            <a:ext cx="5958536" cy="3564527"/>
          </a:xfrm>
        </p:spPr>
        <p:txBody>
          <a:bodyPr/>
          <a:lstStyle/>
          <a:p>
            <a:pPr marL="0" indent="0">
              <a:buNone/>
            </a:pPr>
            <a:r>
              <a:rPr lang="sv-SE"/>
              <a:t>Det som är gemensamt för de olika inloggningssätten är att det är CGI som hanterar all autentisering av invånaren. Detta sker i bakgrunden och när inloggningen är färdig så kommer man </a:t>
            </a:r>
          </a:p>
          <a:p>
            <a:pPr marL="0" indent="0">
              <a:buNone/>
            </a:pPr>
            <a:r>
              <a:rPr lang="sv-SE"/>
              <a:t> Och det är 1177 Vårdguidens e-tjänster som ansvarar för att ha avtalet mot CGI.</a:t>
            </a:r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r>
              <a:rPr lang="sv-SE"/>
              <a:t>Det är 1177 Vårdguidens e-tjänster som hanterar all information kring förändringar rörande de olika sätten som invånare kan logga in på</a:t>
            </a:r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E34E6C97-4612-401B-A78C-A0BA55D7D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1C2DD72-32C6-483C-B233-8B6D1B38B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12</a:t>
            </a:fld>
            <a:endParaRPr lang="sv-SE"/>
          </a:p>
        </p:txBody>
      </p:sp>
      <p:pic>
        <p:nvPicPr>
          <p:cNvPr id="7" name="Platshållare för bild 6">
            <a:extLst>
              <a:ext uri="{FF2B5EF4-FFF2-40B4-BE49-F238E27FC236}">
                <a16:creationId xmlns:a16="http://schemas.microsoft.com/office/drawing/2014/main" id="{331BA732-60D1-4C55-A814-400541A9CBE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15211" r="15211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79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94A7C85-7A08-4FC8-BC48-233C8F28D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283" y="765191"/>
            <a:ext cx="10515600" cy="1149264"/>
          </a:xfrm>
        </p:spPr>
        <p:txBody>
          <a:bodyPr/>
          <a:lstStyle/>
          <a:p>
            <a:r>
              <a:rPr lang="sv-SE"/>
              <a:t>Efter att invånaren loggat in i 1177 E-tjänsterna kan man välja att öppna så kallade  uthoppstjänster som Stöd och behandling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4E71C5B-FC5B-4FDB-8C88-A39E1A4F0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80EB8C8-9D2E-45FB-ADE0-A99B9B31C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13</a:t>
            </a:fld>
            <a:endParaRPr lang="sv-SE"/>
          </a:p>
        </p:txBody>
      </p:sp>
      <p:pic>
        <p:nvPicPr>
          <p:cNvPr id="11" name="Platshållare för bild 10">
            <a:extLst>
              <a:ext uri="{FF2B5EF4-FFF2-40B4-BE49-F238E27FC236}">
                <a16:creationId xmlns:a16="http://schemas.microsoft.com/office/drawing/2014/main" id="{B155D49D-FAF2-4B1D-AA2E-F9547972B34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520" b="520"/>
          <a:stretch>
            <a:fillRect/>
          </a:stretch>
        </p:blipFill>
        <p:spPr>
          <a:xfrm>
            <a:off x="388283" y="2222484"/>
            <a:ext cx="10515600" cy="387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48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4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Information från Förvaltning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Referensgruppen</a:t>
            </a:r>
            <a:r>
              <a:rPr lang="sv-SE" sz="2000" b="1"/>
              <a:t>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Publicera för test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Utbildning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loggningsprocess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Support</a:t>
            </a:r>
            <a:r>
              <a:rPr lang="sv-SE" sz="2000"/>
              <a:t>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Nästa användarforum</a:t>
            </a:r>
            <a:endParaRPr lang="sv-SE" sz="2000" b="1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235455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79CD7F9-C9AD-41A3-9483-9CE82CA15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solidFill>
                  <a:schemeClr val="accent1"/>
                </a:solidFill>
              </a:rPr>
              <a:t>Bemanningen</a:t>
            </a:r>
            <a:r>
              <a:rPr lang="sv-SE"/>
              <a:t> i den nationella förvaltningen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3C1CB9C-26EF-4331-A3F5-5578CE346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15</a:t>
            </a:fld>
            <a:endParaRPr lang="sv-SE"/>
          </a:p>
        </p:txBody>
      </p:sp>
      <p:sp>
        <p:nvSpPr>
          <p:cNvPr id="9" name="Platshållare för innehåll 9">
            <a:extLst>
              <a:ext uri="{FF2B5EF4-FFF2-40B4-BE49-F238E27FC236}">
                <a16:creationId xmlns:a16="http://schemas.microsoft.com/office/drawing/2014/main" id="{F4B7927F-166E-4B0C-82C4-5E82217C5FCE}"/>
              </a:ext>
            </a:extLst>
          </p:cNvPr>
          <p:cNvSpPr txBox="1">
            <a:spLocks/>
          </p:cNvSpPr>
          <p:nvPr/>
        </p:nvSpPr>
        <p:spPr>
          <a:xfrm>
            <a:off x="922424" y="1693273"/>
            <a:ext cx="9999576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/>
              <a:t>Den nationella förvaltningen är fortsatt underbemannad.</a:t>
            </a:r>
          </a:p>
          <a:p>
            <a:r>
              <a:rPr lang="sv-SE"/>
              <a:t>Vi ber om förståelse för vad det innebär.  	</a:t>
            </a:r>
          </a:p>
          <a:p>
            <a:pPr lvl="1"/>
            <a:r>
              <a:rPr lang="sv-SE"/>
              <a:t>Längre svarstider i supporten</a:t>
            </a:r>
          </a:p>
          <a:p>
            <a:pPr lvl="1"/>
            <a:r>
              <a:rPr lang="sv-SE"/>
              <a:t>Hårt belastade vid sjukdomar, planeringsdagar eller ledighet</a:t>
            </a:r>
          </a:p>
          <a:p>
            <a:pPr lvl="1"/>
            <a:r>
              <a:rPr lang="sv-SE"/>
              <a:t>Fysiska möten </a:t>
            </a:r>
          </a:p>
          <a:p>
            <a:pPr lvl="1"/>
            <a:r>
              <a:rPr lang="sv-SE"/>
              <a:t>Mycket viktigt att rutiner efterföljs så inget missas</a:t>
            </a:r>
          </a:p>
        </p:txBody>
      </p:sp>
    </p:spTree>
    <p:extLst>
      <p:ext uri="{BB962C8B-B14F-4D97-AF65-F5344CB8AC3E}">
        <p14:creationId xmlns:p14="http://schemas.microsoft.com/office/powerpoint/2010/main" val="2521471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36594C08-4DB2-417A-96A5-74100ED03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2796" y="755374"/>
            <a:ext cx="6400800" cy="1990726"/>
          </a:xfrm>
        </p:spPr>
        <p:txBody>
          <a:bodyPr/>
          <a:lstStyle/>
          <a:p>
            <a:r>
              <a:rPr lang="sv-SE">
                <a:solidFill>
                  <a:schemeClr val="accent1"/>
                </a:solidFill>
              </a:rPr>
              <a:t>Support</a:t>
            </a:r>
            <a:r>
              <a:rPr lang="sv-SE"/>
              <a:t> så nära som möjligt</a:t>
            </a:r>
            <a:br>
              <a:rPr lang="sv-SE">
                <a:solidFill>
                  <a:schemeClr val="accent1"/>
                </a:solidFill>
              </a:rPr>
            </a:br>
            <a:endParaRPr lang="sv-SE"/>
          </a:p>
        </p:txBody>
      </p:sp>
      <p:pic>
        <p:nvPicPr>
          <p:cNvPr id="5" name="Platshållare för bild 4">
            <a:extLst>
              <a:ext uri="{FF2B5EF4-FFF2-40B4-BE49-F238E27FC236}">
                <a16:creationId xmlns:a16="http://schemas.microsoft.com/office/drawing/2014/main" id="{E607ADC7-6305-4A2D-A551-C58AA1DE8B6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8" r="3248"/>
          <a:stretch>
            <a:fillRect/>
          </a:stretch>
        </p:blipFill>
        <p:spPr>
          <a:xfrm>
            <a:off x="0" y="0"/>
            <a:ext cx="5417768" cy="6105832"/>
          </a:xfrm>
        </p:spPr>
      </p:pic>
      <p:sp>
        <p:nvSpPr>
          <p:cNvPr id="6" name="Platshållare för innehåll 9">
            <a:extLst>
              <a:ext uri="{FF2B5EF4-FFF2-40B4-BE49-F238E27FC236}">
                <a16:creationId xmlns:a16="http://schemas.microsoft.com/office/drawing/2014/main" id="{A3A7B45A-E037-4C71-B4CF-A384DACC1BEA}"/>
              </a:ext>
            </a:extLst>
          </p:cNvPr>
          <p:cNvSpPr txBox="1">
            <a:spLocks/>
          </p:cNvSpPr>
          <p:nvPr/>
        </p:nvSpPr>
        <p:spPr>
          <a:xfrm>
            <a:off x="5764697" y="1908312"/>
            <a:ext cx="5903842" cy="3879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sv-SE"/>
              <a:t>Invånare ska i första hand vända sig till sin behandlare när de stöter på problem eller har frågor. </a:t>
            </a:r>
          </a:p>
          <a:p>
            <a:pPr marL="0" indent="0">
              <a:buNone/>
            </a:pPr>
            <a:endParaRPr lang="sv-SE"/>
          </a:p>
          <a:p>
            <a:pPr marL="342900" indent="-342900">
              <a:buFont typeface="+mj-lt"/>
              <a:buAutoNum type="arabicPeriod"/>
            </a:pPr>
            <a:r>
              <a:rPr lang="sv-SE"/>
              <a:t>Behandlare ska i första hand vända sig till sina kollegor</a:t>
            </a:r>
          </a:p>
          <a:p>
            <a:pPr marL="342900" indent="-342900">
              <a:buFont typeface="+mj-lt"/>
              <a:buAutoNum type="arabicPeriod"/>
            </a:pPr>
            <a:r>
              <a:rPr lang="sv-SE"/>
              <a:t>Behandlare ska i andra hand vända sig till sin regionala support</a:t>
            </a:r>
          </a:p>
          <a:p>
            <a:pPr marL="342900" indent="-342900">
              <a:buFont typeface="+mj-lt"/>
              <a:buAutoNum type="arabicPeriod"/>
            </a:pPr>
            <a:r>
              <a:rPr lang="sv-SE"/>
              <a:t>Regional support kan vid behov vända sig till den nationella supporten. Mejl skickas till </a:t>
            </a:r>
            <a:r>
              <a:rPr lang="sv-SE">
                <a:hlinkClick r:id="rId3"/>
              </a:rPr>
              <a:t>e-tjanster@1177.se</a:t>
            </a:r>
            <a:r>
              <a:rPr lang="sv-SE"/>
              <a:t> nämn Stöd och behandling i </a:t>
            </a:r>
            <a:r>
              <a:rPr lang="sv-SE" err="1"/>
              <a:t>ämnesraden</a:t>
            </a:r>
            <a:r>
              <a:rPr lang="sv-SE"/>
              <a:t> för smidigare hantering av ärendet. Inga felanmälningar ska göras på projektplatsen. </a:t>
            </a:r>
            <a:r>
              <a:rPr lang="sv-SE">
                <a:solidFill>
                  <a:srgbClr val="FF0000"/>
                </a:solidFill>
              </a:rPr>
              <a:t>OBS! För att få hjälp av den nationella supporten krävs </a:t>
            </a:r>
            <a:r>
              <a:rPr lang="sv-SE" err="1">
                <a:solidFill>
                  <a:srgbClr val="FF0000"/>
                </a:solidFill>
              </a:rPr>
              <a:t>skärmdumpar</a:t>
            </a:r>
            <a:r>
              <a:rPr lang="sv-SE">
                <a:solidFill>
                  <a:srgbClr val="FF0000"/>
                </a:solidFill>
              </a:rPr>
              <a:t> </a:t>
            </a:r>
            <a:endParaRPr lang="sv-SE"/>
          </a:p>
          <a:p>
            <a:pPr marL="342900" indent="-342900">
              <a:buFont typeface="+mj-lt"/>
              <a:buAutoNum type="arabicPeriod"/>
            </a:pPr>
            <a:endParaRPr lang="sv-SE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872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79CD7F9-C9AD-41A3-9483-9CE82CA15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err="1">
                <a:solidFill>
                  <a:schemeClr val="accent1"/>
                </a:solidFill>
              </a:rPr>
              <a:t>Skärmdumpar</a:t>
            </a:r>
            <a:r>
              <a:rPr lang="sv-SE"/>
              <a:t> vid felanmälningar</a:t>
            </a:r>
          </a:p>
        </p:txBody>
      </p:sp>
      <p:pic>
        <p:nvPicPr>
          <p:cNvPr id="8" name="Platshållare för innehåll 7">
            <a:extLst>
              <a:ext uri="{FF2B5EF4-FFF2-40B4-BE49-F238E27FC236}">
                <a16:creationId xmlns:a16="http://schemas.microsoft.com/office/drawing/2014/main" id="{251A2B3E-CFC8-4908-A99F-FD13BDF9979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2207" y="1612134"/>
            <a:ext cx="6208238" cy="3336927"/>
          </a:xfrm>
        </p:spPr>
      </p:pic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3C1CB9C-26EF-4331-A3F5-5578CE346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17</a:t>
            </a:fld>
            <a:endParaRPr lang="sv-SE"/>
          </a:p>
        </p:txBody>
      </p:sp>
      <p:sp>
        <p:nvSpPr>
          <p:cNvPr id="9" name="Platshållare för innehåll 9">
            <a:extLst>
              <a:ext uri="{FF2B5EF4-FFF2-40B4-BE49-F238E27FC236}">
                <a16:creationId xmlns:a16="http://schemas.microsoft.com/office/drawing/2014/main" id="{F4B7927F-166E-4B0C-82C4-5E82217C5FCE}"/>
              </a:ext>
            </a:extLst>
          </p:cNvPr>
          <p:cNvSpPr txBox="1">
            <a:spLocks/>
          </p:cNvSpPr>
          <p:nvPr/>
        </p:nvSpPr>
        <p:spPr>
          <a:xfrm>
            <a:off x="922424" y="1693273"/>
            <a:ext cx="4160379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err="1"/>
              <a:t>Skärmdumpar</a:t>
            </a:r>
            <a:r>
              <a:rPr lang="sv-SE"/>
              <a:t> ska alltid bifogas vid felanmälningar.</a:t>
            </a:r>
          </a:p>
          <a:p>
            <a:r>
              <a:rPr lang="sv-SE"/>
              <a:t>Skärmdumpen ska innehålla adressfältet, det felaktiga beteendet samt tid och datum. </a:t>
            </a:r>
          </a:p>
          <a:p>
            <a:r>
              <a:rPr lang="sv-SE"/>
              <a:t>Lathund finns på </a:t>
            </a:r>
            <a:r>
              <a:rPr lang="sv-SE">
                <a:hlinkClick r:id="rId3"/>
              </a:rPr>
              <a:t>Förvaltningens informationssida</a:t>
            </a:r>
            <a:endParaRPr lang="sv-SE"/>
          </a:p>
        </p:txBody>
      </p:sp>
      <p:sp>
        <p:nvSpPr>
          <p:cNvPr id="14" name="Ellips 13">
            <a:extLst>
              <a:ext uri="{FF2B5EF4-FFF2-40B4-BE49-F238E27FC236}">
                <a16:creationId xmlns:a16="http://schemas.microsoft.com/office/drawing/2014/main" id="{43914225-6308-4597-B38F-46913AF95B29}"/>
              </a:ext>
            </a:extLst>
          </p:cNvPr>
          <p:cNvSpPr/>
          <p:nvPr/>
        </p:nvSpPr>
        <p:spPr>
          <a:xfrm>
            <a:off x="5795404" y="1538771"/>
            <a:ext cx="2358522" cy="309004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Ellips 14">
            <a:extLst>
              <a:ext uri="{FF2B5EF4-FFF2-40B4-BE49-F238E27FC236}">
                <a16:creationId xmlns:a16="http://schemas.microsoft.com/office/drawing/2014/main" id="{D503900B-1420-4B6C-A6D4-6A0871135072}"/>
              </a:ext>
            </a:extLst>
          </p:cNvPr>
          <p:cNvSpPr/>
          <p:nvPr/>
        </p:nvSpPr>
        <p:spPr>
          <a:xfrm>
            <a:off x="7094069" y="1844057"/>
            <a:ext cx="2358522" cy="309004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Ellips 15">
            <a:extLst>
              <a:ext uri="{FF2B5EF4-FFF2-40B4-BE49-F238E27FC236}">
                <a16:creationId xmlns:a16="http://schemas.microsoft.com/office/drawing/2014/main" id="{D6808F7E-699E-4993-BCE9-1CFE88B39615}"/>
              </a:ext>
            </a:extLst>
          </p:cNvPr>
          <p:cNvSpPr/>
          <p:nvPr/>
        </p:nvSpPr>
        <p:spPr>
          <a:xfrm>
            <a:off x="10668000" y="4713420"/>
            <a:ext cx="601576" cy="309004"/>
          </a:xfrm>
          <a:prstGeom prst="ellipse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83079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Projektplatsen 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8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943184" cy="291927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Felanmälningar görs inte på Projektplatse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/>
              <a:t>Förvaltningen bevakar inte Projektplatsen, det är regionernas samordningsy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Tänk en extra gång innan ni skriver på Projektplats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/>
              <a:t>Inlägg kan skapa en skev bild av Stöd och behandlings funktionalitet/statu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/>
              <a:t>Driftstörningen vi hade fredagen den 6/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Projektplatsen är mycket kostsam för Iner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/>
              <a:t>Planer på att ersätta med ett annat samordningsverkty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v-SE"/>
          </a:p>
          <a:p>
            <a:endParaRPr lang="sv-SE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v-SE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v-SE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8073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9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Information från Förvaltning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Referensgruppen</a:t>
            </a:r>
            <a:r>
              <a:rPr lang="sv-SE" sz="2000" b="1"/>
              <a:t>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Publicera för test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Utbildning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loggningsprocess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Support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Nästa användarforum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177384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2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Information från Förvaltning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Referensgruppen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Publicera för test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Utbildning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loggningsprocess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Support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Nästa användarforum</a:t>
            </a:r>
            <a:endParaRPr lang="sv-SE" sz="2000" b="1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285026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Nästa användarforum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20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943184" cy="2919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/>
              <a:t>Nästa användarforum är den 17 april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/>
              <a:t>Nya gränssnittet för invånare, enbart det grafiska inget om tillgänglighet</a:t>
            </a:r>
          </a:p>
          <a:p>
            <a:pPr lvl="1">
              <a:spcBef>
                <a:spcPts val="1200"/>
              </a:spcBef>
            </a:pPr>
            <a:endParaRPr lang="sv-SE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/>
              <a:t>Glöm inte bort att anmäl frågor på förhand</a:t>
            </a:r>
          </a:p>
        </p:txBody>
      </p:sp>
    </p:spTree>
    <p:extLst>
      <p:ext uri="{BB962C8B-B14F-4D97-AF65-F5344CB8AC3E}">
        <p14:creationId xmlns:p14="http://schemas.microsoft.com/office/powerpoint/2010/main" val="49786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21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formation från Förvaltning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Referensgruppen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Publicera för test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Utbildning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loggningsprocess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Support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Nästa användarforum</a:t>
            </a:r>
            <a:endParaRPr lang="sv-SE" sz="2000" b="1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381617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nmälda frågor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22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765990" y="1836018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847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28D93B-810B-4496-B5A7-8067431BE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40043"/>
            <a:ext cx="10515600" cy="4588041"/>
          </a:xfrm>
        </p:spPr>
        <p:txBody>
          <a:bodyPr/>
          <a:lstStyle/>
          <a:p>
            <a:r>
              <a:rPr lang="sv-SE"/>
              <a:t>Tack för er uppmärksamhet!</a:t>
            </a:r>
            <a:br>
              <a:rPr lang="sv-SE"/>
            </a:br>
            <a:br>
              <a:rPr lang="sv-SE" sz="2400">
                <a:latin typeface="+mn-lt"/>
              </a:rPr>
            </a:br>
            <a:r>
              <a:rPr lang="sv-SE" sz="2400">
                <a:latin typeface="+mn-lt"/>
              </a:rPr>
              <a:t>Finns det fördjupningsområde ni är intresserade av att höra om, </a:t>
            </a:r>
            <a:br>
              <a:rPr lang="sv-SE" sz="2400">
                <a:latin typeface="+mn-lt"/>
              </a:rPr>
            </a:br>
            <a:r>
              <a:rPr lang="sv-SE" sz="2400">
                <a:latin typeface="+mn-lt"/>
              </a:rPr>
              <a:t>skicka ett ärende till supporten och tagga med ”Användarforum”</a:t>
            </a:r>
            <a:endParaRPr lang="sv-SE">
              <a:latin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B2485EB-416D-41A4-8A24-F8A094637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0576C32-35B8-4D1C-9C86-5C58C6FF8A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966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3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Syfte: Koordinera och samla in behov samt kanal för informations- och erfarenhetsutbyte 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3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582040" y="1733108"/>
            <a:ext cx="10517780" cy="375329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r>
              <a:rPr lang="sv-SE" sz="2000" b="1"/>
              <a:t>Agenda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formation från Förvaltning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Referensgrupp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Publicera för test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Utbildning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loggningsprocess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Support 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Nästa användarforum</a:t>
            </a:r>
            <a:endParaRPr lang="sv-SE" sz="2000" b="1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mälda frågor</a:t>
            </a:r>
          </a:p>
        </p:txBody>
      </p:sp>
    </p:spTree>
    <p:extLst>
      <p:ext uri="{BB962C8B-B14F-4D97-AF65-F5344CB8AC3E}">
        <p14:creationId xmlns:p14="http://schemas.microsoft.com/office/powerpoint/2010/main" val="135154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54E6E06-7328-4D4D-A388-7A735F4D8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solidFill>
                  <a:schemeClr val="accent1"/>
                </a:solidFill>
              </a:rPr>
              <a:t>Referensgrupp</a:t>
            </a:r>
            <a:endParaRPr lang="sv-SE"/>
          </a:p>
        </p:txBody>
      </p:sp>
      <p:graphicFrame>
        <p:nvGraphicFramePr>
          <p:cNvPr id="8" name="Platshållare för innehåll 7">
            <a:extLst>
              <a:ext uri="{FF2B5EF4-FFF2-40B4-BE49-F238E27FC236}">
                <a16:creationId xmlns:a16="http://schemas.microsoft.com/office/drawing/2014/main" id="{D9EBF709-079F-4BAA-8E69-031AA23CAC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52071742"/>
              </p:ext>
            </p:extLst>
          </p:nvPr>
        </p:nvGraphicFramePr>
        <p:xfrm>
          <a:off x="2085094" y="1343378"/>
          <a:ext cx="6313840" cy="4703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8151">
                  <a:extLst>
                    <a:ext uri="{9D8B030D-6E8A-4147-A177-3AD203B41FA5}">
                      <a16:colId xmlns:a16="http://schemas.microsoft.com/office/drawing/2014/main" val="2711303948"/>
                    </a:ext>
                  </a:extLst>
                </a:gridCol>
                <a:gridCol w="3465689">
                  <a:extLst>
                    <a:ext uri="{9D8B030D-6E8A-4147-A177-3AD203B41FA5}">
                      <a16:colId xmlns:a16="http://schemas.microsoft.com/office/drawing/2014/main" val="1168968773"/>
                    </a:ext>
                  </a:extLst>
                </a:gridCol>
              </a:tblGrid>
              <a:tr h="352835">
                <a:tc>
                  <a:txBody>
                    <a:bodyPr/>
                    <a:lstStyle/>
                    <a:p>
                      <a:r>
                        <a:rPr lang="sv-SE" sz="1600" b="0"/>
                        <a:t>Namn</a:t>
                      </a:r>
                      <a:endParaRPr lang="sv-SE" sz="18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600" b="0"/>
                        <a:t>Region</a:t>
                      </a:r>
                      <a:endParaRPr lang="sv-SE" b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774633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r>
                        <a:rPr lang="sv-SE" sz="1400"/>
                        <a:t>Björn Ol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400"/>
                        <a:t>Dalarn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5802014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r>
                        <a:rPr lang="sv-SE" sz="1400"/>
                        <a:t>Nettan Svart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400"/>
                        <a:t>Östergötla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3401829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r>
                        <a:rPr lang="sv-SE" sz="1400"/>
                        <a:t>Eva Mannerstrå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400"/>
                        <a:t>Stockhol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805509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Anna Norrenge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Kalmar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817319063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Jenny Ulander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Uppsala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3043569140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Birgitta Hjerpe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Värmland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2718893531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Karin </a:t>
                      </a:r>
                      <a:r>
                        <a:rPr lang="sv-SE" sz="1400" b="0" err="1">
                          <a:effectLst/>
                        </a:rPr>
                        <a:t>Gebart</a:t>
                      </a:r>
                      <a:r>
                        <a:rPr lang="sv-SE" sz="1400" b="0">
                          <a:effectLst/>
                        </a:rPr>
                        <a:t> Hedman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Västerbotten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1721492428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Josefin </a:t>
                      </a:r>
                      <a:r>
                        <a:rPr lang="sv-SE" sz="1400" b="0" err="1">
                          <a:effectLst/>
                        </a:rPr>
                        <a:t>Laago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Jönköping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1947604461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Lisbet Olin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Blekinge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314184558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Åsa Häggblad 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Västmanland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202698283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Ida </a:t>
                      </a:r>
                      <a:r>
                        <a:rPr lang="sv-SE" sz="1400" b="0" err="1">
                          <a:effectLst/>
                        </a:rPr>
                        <a:t>Kelding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Gävleborg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185884024"/>
                  </a:ext>
                </a:extLst>
              </a:tr>
              <a:tr h="352835"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Bo Lindholm</a:t>
                      </a:r>
                    </a:p>
                  </a:txBody>
                  <a:tcPr marL="76200" marR="76200" marT="76200" marB="762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400" b="0">
                          <a:effectLst/>
                        </a:rPr>
                        <a:t>Skåne</a:t>
                      </a:r>
                    </a:p>
                  </a:txBody>
                  <a:tcPr marL="76200" marR="76200" marT="76200" marB="76200"/>
                </a:tc>
                <a:extLst>
                  <a:ext uri="{0D108BD9-81ED-4DB2-BD59-A6C34878D82A}">
                    <a16:rowId xmlns:a16="http://schemas.microsoft.com/office/drawing/2014/main" val="2533801437"/>
                  </a:ext>
                </a:extLst>
              </a:tr>
            </a:tbl>
          </a:graphicData>
        </a:graphic>
      </p:graphicFrame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885CB33-3C3B-453B-A238-B373D3F4E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176423D-696A-4A4B-A178-5C5069D9F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1542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5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Information från Förvaltning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Referensgruppen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Publicera för test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Utbildning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loggningsprocess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Support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Nästa användarforum</a:t>
            </a:r>
            <a:endParaRPr lang="sv-SE" sz="2000" b="1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73857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79CD7F9-C9AD-41A3-9483-9CE82CA15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solidFill>
                  <a:schemeClr val="accent1"/>
                </a:solidFill>
              </a:rPr>
              <a:t>Publicera för test 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38ABC03-BD85-4D11-A2CB-2596A2813B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6274" y="1693273"/>
            <a:ext cx="10515600" cy="3564527"/>
          </a:xfrm>
        </p:spPr>
        <p:txBody>
          <a:bodyPr/>
          <a:lstStyle/>
          <a:p>
            <a:r>
              <a:rPr lang="sv-SE"/>
              <a:t>Publicera ofta</a:t>
            </a:r>
          </a:p>
          <a:p>
            <a:r>
              <a:rPr lang="sv-SE"/>
              <a:t>Håll koll på vad som ändrats/lagts till sedan förra publiceringen</a:t>
            </a:r>
          </a:p>
          <a:p>
            <a:r>
              <a:rPr lang="sv-SE"/>
              <a:t>Notera detta, antingen i momentet eller vid sidan av</a:t>
            </a:r>
          </a:p>
          <a:p>
            <a:r>
              <a:rPr lang="sv-SE"/>
              <a:t>Tips: Gör kopia av momentet om du t ex vill testa eller visa del av momentet </a:t>
            </a:r>
          </a:p>
          <a:p>
            <a:endParaRPr lang="sv-SE"/>
          </a:p>
          <a:p>
            <a:endParaRPr lang="sv-SE"/>
          </a:p>
          <a:p>
            <a:r>
              <a:rPr lang="sv-SE"/>
              <a:t>Varför? </a:t>
            </a:r>
          </a:p>
          <a:p>
            <a:pPr lvl="1"/>
            <a:r>
              <a:rPr lang="sv-SE"/>
              <a:t>För att ha koll på helheten, hur momentet ser ut</a:t>
            </a:r>
          </a:p>
          <a:p>
            <a:pPr lvl="1"/>
            <a:r>
              <a:rPr lang="sv-SE"/>
              <a:t>För att slippa ändra mycket i efterhand</a:t>
            </a:r>
          </a:p>
          <a:p>
            <a:pPr lvl="1"/>
            <a:r>
              <a:rPr lang="sv-SE"/>
              <a:t>För att underlätta felsökning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9445F0F-AA8D-458F-AED0-5EA808AC4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3C1CB9C-26EF-4331-A3F5-5578CE346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790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7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Information från Förvaltning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Referensgruppen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Publicera för test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Utbildning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loggningsprocess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Support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Nästa användarforum</a:t>
            </a:r>
            <a:endParaRPr lang="sv-SE" sz="2000" b="1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40881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Utbildning</a:t>
            </a:r>
            <a:br>
              <a:rPr lang="sv-SE" sz="4000"/>
            </a:br>
            <a:r>
              <a:rPr lang="sv-SE" sz="2800" b="0">
                <a:ea typeface="+mj-lt"/>
                <a:cs typeface="+mj-lt"/>
              </a:rPr>
              <a:t>Regional utbildning för designers - sammanställning av erfarenheter och insikter</a:t>
            </a:r>
            <a:endParaRPr lang="sv-SE" sz="280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8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494397"/>
            <a:ext cx="10943184" cy="437977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1200"/>
              </a:spcBef>
            </a:pPr>
            <a:endParaRPr lang="sv-SE"/>
          </a:p>
          <a:p>
            <a:pPr>
              <a:spcBef>
                <a:spcPts val="1200"/>
              </a:spcBef>
            </a:pPr>
            <a:r>
              <a:rPr lang="sv-SE"/>
              <a:t>Arbetsgrupp bildades med medlemmar från regionerna, de som anmälde intresse var med i gruppen</a:t>
            </a:r>
          </a:p>
          <a:p>
            <a:pPr>
              <a:spcBef>
                <a:spcPts val="1200"/>
              </a:spcBef>
            </a:pPr>
            <a:r>
              <a:rPr lang="sv-SE"/>
              <a:t>Arbetet kom att fokusera kring tre områden:</a:t>
            </a: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r>
              <a:rPr lang="sv-SE" sz="2000" b="1"/>
              <a:t>Framgångsfaktorer och hinder</a:t>
            </a:r>
          </a:p>
          <a:p>
            <a:pPr>
              <a:spcBef>
                <a:spcPts val="1200"/>
              </a:spcBef>
            </a:pPr>
            <a:r>
              <a:rPr lang="sv-SE" sz="1600">
                <a:ea typeface="+mn-lt"/>
                <a:cs typeface="+mn-lt"/>
                <a:hlinkClick r:id="rId2"/>
              </a:rPr>
              <a:t>https://service.projectplace.com/#project/823230140/documents/104745156/1257741169</a:t>
            </a:r>
            <a:endParaRPr lang="sv-SE" sz="1600"/>
          </a:p>
          <a:p>
            <a:pPr marL="285750" indent="-285750">
              <a:spcBef>
                <a:spcPts val="1200"/>
              </a:spcBef>
              <a:buFont typeface="Arial,Sans-Serif"/>
              <a:buChar char="•"/>
            </a:pPr>
            <a:r>
              <a:rPr lang="sv-SE" sz="2000" b="1">
                <a:ea typeface="+mn-lt"/>
                <a:cs typeface="+mn-lt"/>
              </a:rPr>
              <a:t>Vad kan vi och vill vi dela med oss av till andra?</a:t>
            </a:r>
            <a:r>
              <a:rPr lang="sv-SE">
                <a:ea typeface="+mn-lt"/>
                <a:cs typeface="+mn-lt"/>
              </a:rPr>
              <a:t> Gå in i nationalgalleriet och skapa en mapp för din region. I mappen lägger ni det ni vill dela med er av till andra regioner. </a:t>
            </a:r>
            <a:endParaRPr lang="en-US">
              <a:ea typeface="+mn-lt"/>
              <a:cs typeface="+mn-lt"/>
            </a:endParaRPr>
          </a:p>
          <a:p>
            <a:pPr>
              <a:spcBef>
                <a:spcPts val="1200"/>
              </a:spcBef>
            </a:pPr>
            <a:r>
              <a:rPr lang="sv-SE">
                <a:ea typeface="+mn-lt"/>
                <a:cs typeface="+mn-lt"/>
              </a:rPr>
              <a:t>     Titta, få inspiration, ta av andra regioner!</a:t>
            </a:r>
            <a:endParaRPr lang="en-US">
              <a:ea typeface="+mn-lt"/>
              <a:cs typeface="+mn-lt"/>
            </a:endParaRPr>
          </a:p>
          <a:p>
            <a:pPr>
              <a:spcBef>
                <a:spcPts val="1200"/>
              </a:spcBef>
            </a:pPr>
            <a:r>
              <a:rPr lang="sv-SE" sz="1600">
                <a:ea typeface="+mn-lt"/>
                <a:cs typeface="+mn-lt"/>
                <a:hlinkClick r:id="rId3"/>
              </a:rPr>
              <a:t>https://service.projectplace.com/#project/823230140/documents/104745156</a:t>
            </a:r>
            <a:endParaRPr lang="sv-SE" sz="1600"/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r>
              <a:rPr lang="sv-SE" b="1"/>
              <a:t>Vilka kunskaper ser vi att designer behöver?</a:t>
            </a:r>
          </a:p>
          <a:p>
            <a:pPr>
              <a:spcBef>
                <a:spcPts val="1200"/>
              </a:spcBef>
            </a:pPr>
            <a:r>
              <a:rPr lang="sv-SE" sz="1600">
                <a:ea typeface="+mn-lt"/>
                <a:cs typeface="+mn-lt"/>
                <a:hlinkClick r:id="rId4"/>
              </a:rPr>
              <a:t>https://inera.atlassian.net/wiki/spaces/SOBD/pages/2600538/Grundkunskaper+f+r+designer</a:t>
            </a:r>
            <a:endParaRPr lang="sv-SE" sz="1600"/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sv-SE"/>
          </a:p>
          <a:p>
            <a:pPr>
              <a:spcBef>
                <a:spcPts val="1200"/>
              </a:spcBef>
            </a:pPr>
            <a:endParaRPr lang="sv-SE"/>
          </a:p>
          <a:p>
            <a:pPr>
              <a:spcBef>
                <a:spcPts val="1200"/>
              </a:spcBef>
            </a:pPr>
            <a:endParaRPr lang="sv-SE"/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sv-SE"/>
          </a:p>
          <a:p>
            <a:pPr>
              <a:spcBef>
                <a:spcPts val="1200"/>
              </a:spcBef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7353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9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Information från Förvaltning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Referensgruppen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Publicera för test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Utbildning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Inloggningsprocess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Support 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Nästa användarforum</a:t>
            </a:r>
            <a:endParaRPr lang="sv-SE" sz="2000" b="1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34353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8pWEAipNB.83_P_hIiw"/>
</p:tagLst>
</file>

<file path=ppt/theme/theme1.xml><?xml version="1.0" encoding="utf-8"?>
<a:theme xmlns:a="http://schemas.openxmlformats.org/drawingml/2006/main" name="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4AF1B5AFADE1438984E4ED97CAED62" ma:contentTypeVersion="7" ma:contentTypeDescription="Skapa ett nytt dokument." ma:contentTypeScope="" ma:versionID="ec5ff28e6909e45a4bb6e192237c9ca0">
  <xsd:schema xmlns:xsd="http://www.w3.org/2001/XMLSchema" xmlns:xs="http://www.w3.org/2001/XMLSchema" xmlns:p="http://schemas.microsoft.com/office/2006/metadata/properties" xmlns:ns2="69252be8-17ef-4408-949c-5e7cc87314a9" targetNamespace="http://schemas.microsoft.com/office/2006/metadata/properties" ma:root="true" ma:fieldsID="b9e38a575ce902ee5438be0379e751b9" ns2:_="">
    <xsd:import namespace="69252be8-17ef-4408-949c-5e7cc87314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52be8-17ef-4408-949c-5e7cc87314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EE584F-D7B0-4B96-A35C-42EAC6D09DC5}">
  <ds:schemaRefs>
    <ds:schemaRef ds:uri="69252be8-17ef-4408-949c-5e7cc87314a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4068680-729C-46D7-81EE-A3EC47914E3B}">
  <ds:schemaRefs>
    <ds:schemaRef ds:uri="69252be8-17ef-4408-949c-5e7cc87314a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5AB53AA-EBE4-46F9-A91E-045D87E59A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Bredbild</PresentationFormat>
  <Slides>24</Slides>
  <Notes>0</Notes>
  <HiddenSlides>0</HiddenSlides>
  <ScaleCrop>false</ScaleCrop>
  <HeadingPairs>
    <vt:vector size="4" baseType="variant">
      <vt:variant>
        <vt:lpstr>Tema</vt:lpstr>
      </vt:variant>
      <vt:variant>
        <vt:i4>1</vt:i4>
      </vt:variant>
      <vt:variant>
        <vt:lpstr>Bildrubriker</vt:lpstr>
      </vt:variant>
      <vt:variant>
        <vt:i4>24</vt:i4>
      </vt:variant>
    </vt:vector>
  </HeadingPairs>
  <TitlesOfParts>
    <vt:vector size="25" baseType="lpstr">
      <vt:lpstr>1177 Vårguiden</vt:lpstr>
      <vt:lpstr>Användarforum    Stöd och behandling</vt:lpstr>
      <vt:lpstr>Agenda</vt:lpstr>
      <vt:lpstr>Syfte: Koordinera och samla in behov samt kanal för informations- och erfarenhetsutbyte </vt:lpstr>
      <vt:lpstr>Referensgrupp</vt:lpstr>
      <vt:lpstr>Agenda</vt:lpstr>
      <vt:lpstr>Publicera för test </vt:lpstr>
      <vt:lpstr>Agenda</vt:lpstr>
      <vt:lpstr>Utbildning Regional utbildning för designers - sammanställning av erfarenheter och insikter</vt:lpstr>
      <vt:lpstr>Agenda</vt:lpstr>
      <vt:lpstr>Förenklad bild över hur inloggning går till</vt:lpstr>
      <vt:lpstr>Förenklad bild över hur inloggning går till</vt:lpstr>
      <vt:lpstr>Olika sätt att logga in till 1177 E-tjänsterna för invånare</vt:lpstr>
      <vt:lpstr>Efter att invånaren loggat in i 1177 E-tjänsterna kan man välja att öppna så kallade  uthoppstjänster som Stöd och behandling</vt:lpstr>
      <vt:lpstr>Agenda</vt:lpstr>
      <vt:lpstr>Bemanningen i den nationella förvaltningen</vt:lpstr>
      <vt:lpstr>Support så nära som möjligt </vt:lpstr>
      <vt:lpstr>Skärmdumpar vid felanmälningar</vt:lpstr>
      <vt:lpstr>Projektplatsen </vt:lpstr>
      <vt:lpstr>Agenda</vt:lpstr>
      <vt:lpstr>Nästa användarforum</vt:lpstr>
      <vt:lpstr>Agenda</vt:lpstr>
      <vt:lpstr>Anmälda frågor</vt:lpstr>
      <vt:lpstr>Tack för er uppmärksamhet!  Finns det fördjupningsområde ni är intresserade av att höra om,  skicka ett ärende till supporten och tagga med ”Användarforum”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rubrik kommer att stå här och kan vara på tre rader</dc:title>
  <dc:creator>Bennani Safia</dc:creator>
  <cp:revision>2</cp:revision>
  <dcterms:created xsi:type="dcterms:W3CDTF">2019-08-13T08:23:18Z</dcterms:created>
  <dcterms:modified xsi:type="dcterms:W3CDTF">2020-03-25T14:3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4AF1B5AFADE1438984E4ED97CAED62</vt:lpwstr>
  </property>
</Properties>
</file>